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042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8C2E0"/>
    <a:srgbClr val="97D0B1"/>
    <a:srgbClr val="406352"/>
    <a:srgbClr val="CBCAEA"/>
    <a:srgbClr val="D7B9E1"/>
    <a:srgbClr val="292866"/>
    <a:srgbClr val="D5ECE0"/>
    <a:srgbClr val="F2F2F2"/>
    <a:srgbClr val="2B4871"/>
    <a:srgbClr val="05BAD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835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1212" y="84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6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6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2588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FC4A6DC3-43E5-2BE0-A8FA-14D095567573}"/>
              </a:ext>
            </a:extLst>
          </p:cNvPr>
          <p:cNvSpPr/>
          <p:nvPr userDrawn="1"/>
        </p:nvSpPr>
        <p:spPr>
          <a:xfrm>
            <a:off x="5412708" y="0"/>
            <a:ext cx="6779292" cy="6858000"/>
          </a:xfrm>
          <a:custGeom>
            <a:avLst/>
            <a:gdLst>
              <a:gd name="connsiteX0" fmla="*/ 762028 w 6779292"/>
              <a:gd name="connsiteY0" fmla="*/ 0 h 6858000"/>
              <a:gd name="connsiteX1" fmla="*/ 4920012 w 6779292"/>
              <a:gd name="connsiteY1" fmla="*/ 0 h 6858000"/>
              <a:gd name="connsiteX2" fmla="*/ 4998692 w 6779292"/>
              <a:gd name="connsiteY2" fmla="*/ 0 h 6858000"/>
              <a:gd name="connsiteX3" fmla="*/ 6779292 w 6779292"/>
              <a:gd name="connsiteY3" fmla="*/ 0 h 6858000"/>
              <a:gd name="connsiteX4" fmla="*/ 6779292 w 6779292"/>
              <a:gd name="connsiteY4" fmla="*/ 2286000 h 6858000"/>
              <a:gd name="connsiteX5" fmla="*/ 6779292 w 6779292"/>
              <a:gd name="connsiteY5" fmla="*/ 4572000 h 6858000"/>
              <a:gd name="connsiteX6" fmla="*/ 6779292 w 6779292"/>
              <a:gd name="connsiteY6" fmla="*/ 6858000 h 6858000"/>
              <a:gd name="connsiteX7" fmla="*/ 0 w 6779292"/>
              <a:gd name="connsiteY7" fmla="*/ 6858000 h 6858000"/>
              <a:gd name="connsiteX8" fmla="*/ 0 w 6779292"/>
              <a:gd name="connsiteY8" fmla="*/ 5943572 h 6858000"/>
              <a:gd name="connsiteX9" fmla="*/ 0 w 6779292"/>
              <a:gd name="connsiteY9" fmla="*/ 2286000 h 6858000"/>
              <a:gd name="connsiteX10" fmla="*/ 0 w 6779292"/>
              <a:gd name="connsiteY10" fmla="*/ 762028 h 6858000"/>
              <a:gd name="connsiteX11" fmla="*/ 762028 w 6779292"/>
              <a:gd name="connsiteY11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779292" h="6858000">
                <a:moveTo>
                  <a:pt x="762028" y="0"/>
                </a:moveTo>
                <a:lnTo>
                  <a:pt x="4920012" y="0"/>
                </a:lnTo>
                <a:lnTo>
                  <a:pt x="4998692" y="0"/>
                </a:lnTo>
                <a:lnTo>
                  <a:pt x="6779292" y="0"/>
                </a:lnTo>
                <a:lnTo>
                  <a:pt x="6779292" y="2286000"/>
                </a:lnTo>
                <a:lnTo>
                  <a:pt x="6779292" y="4572000"/>
                </a:lnTo>
                <a:lnTo>
                  <a:pt x="6779292" y="6858000"/>
                </a:lnTo>
                <a:lnTo>
                  <a:pt x="0" y="6858000"/>
                </a:lnTo>
                <a:lnTo>
                  <a:pt x="0" y="5943572"/>
                </a:lnTo>
                <a:lnTo>
                  <a:pt x="0" y="2286000"/>
                </a:lnTo>
                <a:lnTo>
                  <a:pt x="0" y="762028"/>
                </a:lnTo>
                <a:cubicBezTo>
                  <a:pt x="0" y="341172"/>
                  <a:pt x="341172" y="0"/>
                  <a:pt x="762028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608BA72E-4191-93ED-5F63-70653097CA4A}"/>
              </a:ext>
            </a:extLst>
          </p:cNvPr>
          <p:cNvSpPr/>
          <p:nvPr userDrawn="1"/>
        </p:nvSpPr>
        <p:spPr>
          <a:xfrm>
            <a:off x="10632898" y="-19404"/>
            <a:ext cx="1559102" cy="1924468"/>
          </a:xfrm>
          <a:custGeom>
            <a:avLst/>
            <a:gdLst>
              <a:gd name="connsiteX0" fmla="*/ 46683 w 1559102"/>
              <a:gd name="connsiteY0" fmla="*/ 0 h 1924468"/>
              <a:gd name="connsiteX1" fmla="*/ 648526 w 1559102"/>
              <a:gd name="connsiteY1" fmla="*/ 0 h 1924468"/>
              <a:gd name="connsiteX2" fmla="*/ 618867 w 1559102"/>
              <a:gd name="connsiteY2" fmla="*/ 81034 h 1924468"/>
              <a:gd name="connsiteX3" fmla="*/ 574909 w 1559102"/>
              <a:gd name="connsiteY3" fmla="*/ 371792 h 1924468"/>
              <a:gd name="connsiteX4" fmla="*/ 1552675 w 1559102"/>
              <a:gd name="connsiteY4" fmla="*/ 1349558 h 1924468"/>
              <a:gd name="connsiteX5" fmla="*/ 1559102 w 1559102"/>
              <a:gd name="connsiteY5" fmla="*/ 1349233 h 1924468"/>
              <a:gd name="connsiteX6" fmla="*/ 1559102 w 1559102"/>
              <a:gd name="connsiteY6" fmla="*/ 1924144 h 1924468"/>
              <a:gd name="connsiteX7" fmla="*/ 1552676 w 1559102"/>
              <a:gd name="connsiteY7" fmla="*/ 1924468 h 1924468"/>
              <a:gd name="connsiteX8" fmla="*/ 0 w 1559102"/>
              <a:gd name="connsiteY8" fmla="*/ 371793 h 1924468"/>
              <a:gd name="connsiteX9" fmla="*/ 31545 w 1559102"/>
              <a:gd name="connsiteY9" fmla="*/ 58874 h 19244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59102" h="1924468">
                <a:moveTo>
                  <a:pt x="46683" y="0"/>
                </a:moveTo>
                <a:lnTo>
                  <a:pt x="648526" y="0"/>
                </a:lnTo>
                <a:lnTo>
                  <a:pt x="618867" y="81034"/>
                </a:lnTo>
                <a:cubicBezTo>
                  <a:pt x="590299" y="172884"/>
                  <a:pt x="574909" y="270541"/>
                  <a:pt x="574909" y="371792"/>
                </a:cubicBezTo>
                <a:cubicBezTo>
                  <a:pt x="574909" y="911797"/>
                  <a:pt x="1012670" y="1349558"/>
                  <a:pt x="1552675" y="1349558"/>
                </a:cubicBezTo>
                <a:lnTo>
                  <a:pt x="1559102" y="1349233"/>
                </a:lnTo>
                <a:lnTo>
                  <a:pt x="1559102" y="1924144"/>
                </a:lnTo>
                <a:lnTo>
                  <a:pt x="1552676" y="1924468"/>
                </a:lnTo>
                <a:cubicBezTo>
                  <a:pt x="695157" y="1924468"/>
                  <a:pt x="0" y="1229312"/>
                  <a:pt x="0" y="371793"/>
                </a:cubicBezTo>
                <a:cubicBezTo>
                  <a:pt x="0" y="264603"/>
                  <a:pt x="10862" y="159950"/>
                  <a:pt x="31545" y="58874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6014405" y="2891616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527130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12813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Google Shape;317;p72">
            <a:extLst>
              <a:ext uri="{FF2B5EF4-FFF2-40B4-BE49-F238E27FC236}">
                <a16:creationId xmlns:a16="http://schemas.microsoft.com/office/drawing/2014/main" id="{B0B24D8E-B221-BCE6-395F-D87EA1F5C0D0}"/>
              </a:ext>
            </a:extLst>
          </p:cNvPr>
          <p:cNvSpPr/>
          <p:nvPr userDrawn="1"/>
        </p:nvSpPr>
        <p:spPr>
          <a:xfrm>
            <a:off x="2786" y="1967"/>
            <a:ext cx="12189215" cy="5132220"/>
          </a:xfrm>
          <a:custGeom>
            <a:avLst/>
            <a:gdLst/>
            <a:ahLst/>
            <a:cxnLst/>
            <a:rect l="l" t="t" r="r" b="b"/>
            <a:pathLst>
              <a:path w="9143999" h="4734198" extrusionOk="0">
                <a:moveTo>
                  <a:pt x="0" y="0"/>
                </a:moveTo>
                <a:lnTo>
                  <a:pt x="9143999" y="0"/>
                </a:lnTo>
                <a:lnTo>
                  <a:pt x="9143999" y="4734198"/>
                </a:lnTo>
                <a:lnTo>
                  <a:pt x="5973097" y="4719484"/>
                </a:lnTo>
                <a:cubicBezTo>
                  <a:pt x="5685504" y="4751439"/>
                  <a:pt x="5493774" y="4650657"/>
                  <a:pt x="5375788" y="4409767"/>
                </a:cubicBezTo>
                <a:lnTo>
                  <a:pt x="3554362" y="1113503"/>
                </a:lnTo>
                <a:cubicBezTo>
                  <a:pt x="3419169" y="857864"/>
                  <a:pt x="3202858" y="771832"/>
                  <a:pt x="2993923" y="766916"/>
                </a:cubicBezTo>
                <a:lnTo>
                  <a:pt x="0" y="766916"/>
                </a:ln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sym typeface="Arial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480380" y="3771292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7C6E95C-F9B2-31ED-1261-5E82E52231DC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09622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A5D7575C-B496-5E9E-184F-798D6AB25EFD}"/>
              </a:ext>
            </a:extLst>
          </p:cNvPr>
          <p:cNvSpPr/>
          <p:nvPr userDrawn="1"/>
        </p:nvSpPr>
        <p:spPr bwMode="auto">
          <a:xfrm>
            <a:off x="0" y="866515"/>
            <a:ext cx="12196619" cy="45719"/>
          </a:xfrm>
          <a:prstGeom prst="rect">
            <a:avLst/>
          </a:prstGeom>
          <a:solidFill>
            <a:schemeClr val="tx2"/>
          </a:solidFill>
          <a:ln w="9525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FBBBD95-D765-E756-7A0B-F06A9E93F730}"/>
              </a:ext>
            </a:extLst>
          </p:cNvPr>
          <p:cNvSpPr/>
          <p:nvPr userDrawn="1"/>
        </p:nvSpPr>
        <p:spPr bwMode="auto">
          <a:xfrm>
            <a:off x="-4620" y="1"/>
            <a:ext cx="12196619" cy="883919"/>
          </a:xfrm>
          <a:prstGeom prst="rect">
            <a:avLst/>
          </a:prstGeom>
          <a:gradFill>
            <a:gsLst>
              <a:gs pos="0">
                <a:schemeClr val="accent1">
                  <a:lumMod val="20000"/>
                  <a:lumOff val="80000"/>
                </a:schemeClr>
              </a:gs>
              <a:gs pos="100000">
                <a:schemeClr val="accent2">
                  <a:lumMod val="20000"/>
                  <a:lumOff val="80000"/>
                </a:schemeClr>
              </a:gs>
            </a:gsLst>
            <a:lin ang="2700000" scaled="0"/>
          </a:gradFill>
          <a:ln w="9525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63539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accent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74725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lnSpc>
                <a:spcPct val="100000"/>
              </a:lnSpc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697C8A63-3D04-EA10-B733-AE72D467BD3F}"/>
              </a:ext>
            </a:extLst>
          </p:cNvPr>
          <p:cNvCxnSpPr>
            <a:cxnSpLocks/>
          </p:cNvCxnSpPr>
          <p:nvPr userDrawn="1"/>
        </p:nvCxnSpPr>
        <p:spPr>
          <a:xfrm>
            <a:off x="-2309" y="6629400"/>
            <a:ext cx="12196619" cy="0"/>
          </a:xfrm>
          <a:prstGeom prst="line">
            <a:avLst/>
          </a:prstGeom>
          <a:ln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72C63254-3ED3-7F4A-55ED-77911D6BFA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23069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Google Shape;126;p8">
            <a:extLst>
              <a:ext uri="{FF2B5EF4-FFF2-40B4-BE49-F238E27FC236}">
                <a16:creationId xmlns:a16="http://schemas.microsoft.com/office/drawing/2014/main" id="{42B1C2E2-410D-4178-8707-30E8CFC13D66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AB4896-8513-49B3-883C-8C8E512092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9099" y="2694530"/>
            <a:ext cx="11329205" cy="734470"/>
          </a:xfrm>
          <a:prstGeom prst="rect">
            <a:avLst/>
          </a:prstGeom>
        </p:spPr>
        <p:txBody>
          <a:bodyPr vert="horz"/>
          <a:lstStyle>
            <a:lvl1pPr>
              <a:defRPr sz="5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01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E0ED0066-C241-49ED-89D6-10AD2C4C22C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099" y="3521558"/>
            <a:ext cx="11283166" cy="43492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800" b="1">
                <a:solidFill>
                  <a:schemeClr val="accent1"/>
                </a:solidFill>
                <a:latin typeface="+mn-lt"/>
              </a:defRPr>
            </a:lvl1pPr>
            <a:lvl2pPr marL="457200" indent="0">
              <a:buFontTx/>
              <a:buNone/>
              <a:defRPr b="1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Divider title</a:t>
            </a:r>
          </a:p>
        </p:txBody>
      </p:sp>
    </p:spTree>
    <p:extLst>
      <p:ext uri="{BB962C8B-B14F-4D97-AF65-F5344CB8AC3E}">
        <p14:creationId xmlns:p14="http://schemas.microsoft.com/office/powerpoint/2010/main" val="197301367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70" imgH="469" progId="TCLayout.ActiveDocument.1">
                  <p:embed/>
                </p:oleObj>
              </mc:Choice>
              <mc:Fallback>
                <p:oleObj name="think-cell Slide" r:id="rId7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49" r:id="rId3"/>
    <p:sldLayoutId id="2147483655" r:id="rId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7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BE91114-EEC1-9B7C-F646-B4750610761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D75F6BFC-0D73-211C-0040-DD9C1733A1F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75F6BFC-0D73-211C-0040-DD9C1733A1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01D09F4-A7E9-6226-757A-4CF791142D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Circ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648B6AC-C75C-71EF-F013-E2E6A97E5C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6" name="Freeform 241">
            <a:extLst>
              <a:ext uri="{FF2B5EF4-FFF2-40B4-BE49-F238E27FC236}">
                <a16:creationId xmlns:a16="http://schemas.microsoft.com/office/drawing/2014/main" id="{67D49493-9DB2-F47F-A037-A419288F7A46}"/>
              </a:ext>
            </a:extLst>
          </p:cNvPr>
          <p:cNvSpPr>
            <a:spLocks noEditPoints="1"/>
          </p:cNvSpPr>
          <p:nvPr/>
        </p:nvSpPr>
        <p:spPr bwMode="auto">
          <a:xfrm rot="779672">
            <a:off x="1100132" y="1500930"/>
            <a:ext cx="2514110" cy="2514109"/>
          </a:xfrm>
          <a:custGeom>
            <a:avLst/>
            <a:gdLst>
              <a:gd name="T0" fmla="*/ 1335 w 1335"/>
              <a:gd name="T1" fmla="*/ 699 h 1335"/>
              <a:gd name="T2" fmla="*/ 1220 w 1335"/>
              <a:gd name="T3" fmla="*/ 586 h 1335"/>
              <a:gd name="T4" fmla="*/ 1300 w 1335"/>
              <a:gd name="T5" fmla="*/ 445 h 1335"/>
              <a:gd name="T6" fmla="*/ 1145 w 1335"/>
              <a:gd name="T7" fmla="*/ 378 h 1335"/>
              <a:gd name="T8" fmla="*/ 1162 w 1335"/>
              <a:gd name="T9" fmla="*/ 218 h 1335"/>
              <a:gd name="T10" fmla="*/ 1001 w 1335"/>
              <a:gd name="T11" fmla="*/ 219 h 1335"/>
              <a:gd name="T12" fmla="*/ 956 w 1335"/>
              <a:gd name="T13" fmla="*/ 65 h 1335"/>
              <a:gd name="T14" fmla="*/ 801 w 1335"/>
              <a:gd name="T15" fmla="*/ 125 h 1335"/>
              <a:gd name="T16" fmla="*/ 699 w 1335"/>
              <a:gd name="T17" fmla="*/ 0 h 1335"/>
              <a:gd name="T18" fmla="*/ 586 w 1335"/>
              <a:gd name="T19" fmla="*/ 115 h 1335"/>
              <a:gd name="T20" fmla="*/ 445 w 1335"/>
              <a:gd name="T21" fmla="*/ 35 h 1335"/>
              <a:gd name="T22" fmla="*/ 378 w 1335"/>
              <a:gd name="T23" fmla="*/ 190 h 1335"/>
              <a:gd name="T24" fmla="*/ 218 w 1335"/>
              <a:gd name="T25" fmla="*/ 173 h 1335"/>
              <a:gd name="T26" fmla="*/ 220 w 1335"/>
              <a:gd name="T27" fmla="*/ 334 h 1335"/>
              <a:gd name="T28" fmla="*/ 65 w 1335"/>
              <a:gd name="T29" fmla="*/ 379 h 1335"/>
              <a:gd name="T30" fmla="*/ 125 w 1335"/>
              <a:gd name="T31" fmla="*/ 535 h 1335"/>
              <a:gd name="T32" fmla="*/ 0 w 1335"/>
              <a:gd name="T33" fmla="*/ 636 h 1335"/>
              <a:gd name="T34" fmla="*/ 115 w 1335"/>
              <a:gd name="T35" fmla="*/ 749 h 1335"/>
              <a:gd name="T36" fmla="*/ 35 w 1335"/>
              <a:gd name="T37" fmla="*/ 890 h 1335"/>
              <a:gd name="T38" fmla="*/ 190 w 1335"/>
              <a:gd name="T39" fmla="*/ 957 h 1335"/>
              <a:gd name="T40" fmla="*/ 173 w 1335"/>
              <a:gd name="T41" fmla="*/ 1117 h 1335"/>
              <a:gd name="T42" fmla="*/ 334 w 1335"/>
              <a:gd name="T43" fmla="*/ 1116 h 1335"/>
              <a:gd name="T44" fmla="*/ 379 w 1335"/>
              <a:gd name="T45" fmla="*/ 1270 h 1335"/>
              <a:gd name="T46" fmla="*/ 535 w 1335"/>
              <a:gd name="T47" fmla="*/ 1210 h 1335"/>
              <a:gd name="T48" fmla="*/ 636 w 1335"/>
              <a:gd name="T49" fmla="*/ 1335 h 1335"/>
              <a:gd name="T50" fmla="*/ 749 w 1335"/>
              <a:gd name="T51" fmla="*/ 1220 h 1335"/>
              <a:gd name="T52" fmla="*/ 890 w 1335"/>
              <a:gd name="T53" fmla="*/ 1299 h 1335"/>
              <a:gd name="T54" fmla="*/ 957 w 1335"/>
              <a:gd name="T55" fmla="*/ 1145 h 1335"/>
              <a:gd name="T56" fmla="*/ 1117 w 1335"/>
              <a:gd name="T57" fmla="*/ 1162 h 1335"/>
              <a:gd name="T58" fmla="*/ 1116 w 1335"/>
              <a:gd name="T59" fmla="*/ 1001 h 1335"/>
              <a:gd name="T60" fmla="*/ 1271 w 1335"/>
              <a:gd name="T61" fmla="*/ 956 h 1335"/>
              <a:gd name="T62" fmla="*/ 1210 w 1335"/>
              <a:gd name="T63" fmla="*/ 801 h 1335"/>
              <a:gd name="T64" fmla="*/ 776 w 1335"/>
              <a:gd name="T65" fmla="*/ 1050 h 1335"/>
              <a:gd name="T66" fmla="*/ 560 w 1335"/>
              <a:gd name="T67" fmla="*/ 286 h 1335"/>
              <a:gd name="T68" fmla="*/ 776 w 1335"/>
              <a:gd name="T69" fmla="*/ 1050 h 13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335" h="1335">
                <a:moveTo>
                  <a:pt x="1326" y="784"/>
                </a:moveTo>
                <a:cubicBezTo>
                  <a:pt x="1335" y="699"/>
                  <a:pt x="1335" y="699"/>
                  <a:pt x="1335" y="699"/>
                </a:cubicBezTo>
                <a:cubicBezTo>
                  <a:pt x="1226" y="658"/>
                  <a:pt x="1226" y="658"/>
                  <a:pt x="1226" y="658"/>
                </a:cubicBezTo>
                <a:cubicBezTo>
                  <a:pt x="1226" y="634"/>
                  <a:pt x="1224" y="610"/>
                  <a:pt x="1220" y="586"/>
                </a:cubicBezTo>
                <a:cubicBezTo>
                  <a:pt x="1323" y="527"/>
                  <a:pt x="1323" y="527"/>
                  <a:pt x="1323" y="527"/>
                </a:cubicBezTo>
                <a:cubicBezTo>
                  <a:pt x="1300" y="445"/>
                  <a:pt x="1300" y="445"/>
                  <a:pt x="1300" y="445"/>
                </a:cubicBezTo>
                <a:cubicBezTo>
                  <a:pt x="1181" y="448"/>
                  <a:pt x="1181" y="448"/>
                  <a:pt x="1181" y="448"/>
                </a:cubicBezTo>
                <a:cubicBezTo>
                  <a:pt x="1171" y="424"/>
                  <a:pt x="1159" y="400"/>
                  <a:pt x="1145" y="378"/>
                </a:cubicBezTo>
                <a:cubicBezTo>
                  <a:pt x="1215" y="284"/>
                  <a:pt x="1215" y="284"/>
                  <a:pt x="1215" y="284"/>
                </a:cubicBezTo>
                <a:cubicBezTo>
                  <a:pt x="1162" y="218"/>
                  <a:pt x="1162" y="218"/>
                  <a:pt x="1162" y="218"/>
                </a:cubicBezTo>
                <a:cubicBezTo>
                  <a:pt x="1055" y="266"/>
                  <a:pt x="1055" y="266"/>
                  <a:pt x="1055" y="266"/>
                </a:cubicBezTo>
                <a:cubicBezTo>
                  <a:pt x="1038" y="249"/>
                  <a:pt x="1020" y="234"/>
                  <a:pt x="1001" y="219"/>
                </a:cubicBezTo>
                <a:cubicBezTo>
                  <a:pt x="1031" y="106"/>
                  <a:pt x="1031" y="106"/>
                  <a:pt x="1031" y="106"/>
                </a:cubicBezTo>
                <a:cubicBezTo>
                  <a:pt x="956" y="65"/>
                  <a:pt x="956" y="65"/>
                  <a:pt x="956" y="65"/>
                </a:cubicBezTo>
                <a:cubicBezTo>
                  <a:pt x="875" y="149"/>
                  <a:pt x="875" y="149"/>
                  <a:pt x="875" y="149"/>
                </a:cubicBezTo>
                <a:cubicBezTo>
                  <a:pt x="851" y="139"/>
                  <a:pt x="826" y="131"/>
                  <a:pt x="801" y="125"/>
                </a:cubicBezTo>
                <a:cubicBezTo>
                  <a:pt x="784" y="9"/>
                  <a:pt x="784" y="9"/>
                  <a:pt x="784" y="9"/>
                </a:cubicBezTo>
                <a:cubicBezTo>
                  <a:pt x="699" y="0"/>
                  <a:pt x="699" y="0"/>
                  <a:pt x="699" y="0"/>
                </a:cubicBezTo>
                <a:cubicBezTo>
                  <a:pt x="658" y="109"/>
                  <a:pt x="658" y="109"/>
                  <a:pt x="658" y="109"/>
                </a:cubicBezTo>
                <a:cubicBezTo>
                  <a:pt x="634" y="109"/>
                  <a:pt x="610" y="111"/>
                  <a:pt x="586" y="115"/>
                </a:cubicBezTo>
                <a:cubicBezTo>
                  <a:pt x="527" y="12"/>
                  <a:pt x="527" y="12"/>
                  <a:pt x="527" y="12"/>
                </a:cubicBezTo>
                <a:cubicBezTo>
                  <a:pt x="445" y="35"/>
                  <a:pt x="445" y="35"/>
                  <a:pt x="445" y="35"/>
                </a:cubicBezTo>
                <a:cubicBezTo>
                  <a:pt x="448" y="154"/>
                  <a:pt x="448" y="154"/>
                  <a:pt x="448" y="154"/>
                </a:cubicBezTo>
                <a:cubicBezTo>
                  <a:pt x="424" y="164"/>
                  <a:pt x="400" y="176"/>
                  <a:pt x="378" y="190"/>
                </a:cubicBezTo>
                <a:cubicBezTo>
                  <a:pt x="284" y="120"/>
                  <a:pt x="284" y="120"/>
                  <a:pt x="284" y="120"/>
                </a:cubicBezTo>
                <a:cubicBezTo>
                  <a:pt x="218" y="173"/>
                  <a:pt x="218" y="173"/>
                  <a:pt x="218" y="173"/>
                </a:cubicBezTo>
                <a:cubicBezTo>
                  <a:pt x="266" y="280"/>
                  <a:pt x="266" y="280"/>
                  <a:pt x="266" y="280"/>
                </a:cubicBezTo>
                <a:cubicBezTo>
                  <a:pt x="249" y="297"/>
                  <a:pt x="234" y="315"/>
                  <a:pt x="220" y="334"/>
                </a:cubicBezTo>
                <a:cubicBezTo>
                  <a:pt x="106" y="305"/>
                  <a:pt x="106" y="305"/>
                  <a:pt x="106" y="305"/>
                </a:cubicBezTo>
                <a:cubicBezTo>
                  <a:pt x="65" y="379"/>
                  <a:pt x="65" y="379"/>
                  <a:pt x="65" y="379"/>
                </a:cubicBezTo>
                <a:cubicBezTo>
                  <a:pt x="149" y="460"/>
                  <a:pt x="149" y="460"/>
                  <a:pt x="149" y="460"/>
                </a:cubicBezTo>
                <a:cubicBezTo>
                  <a:pt x="139" y="484"/>
                  <a:pt x="131" y="509"/>
                  <a:pt x="125" y="535"/>
                </a:cubicBezTo>
                <a:cubicBezTo>
                  <a:pt x="9" y="551"/>
                  <a:pt x="9" y="551"/>
                  <a:pt x="9" y="551"/>
                </a:cubicBezTo>
                <a:cubicBezTo>
                  <a:pt x="0" y="636"/>
                  <a:pt x="0" y="636"/>
                  <a:pt x="0" y="636"/>
                </a:cubicBezTo>
                <a:cubicBezTo>
                  <a:pt x="109" y="678"/>
                  <a:pt x="109" y="678"/>
                  <a:pt x="109" y="678"/>
                </a:cubicBezTo>
                <a:cubicBezTo>
                  <a:pt x="110" y="701"/>
                  <a:pt x="111" y="725"/>
                  <a:pt x="115" y="749"/>
                </a:cubicBezTo>
                <a:cubicBezTo>
                  <a:pt x="12" y="809"/>
                  <a:pt x="12" y="809"/>
                  <a:pt x="12" y="809"/>
                </a:cubicBezTo>
                <a:cubicBezTo>
                  <a:pt x="35" y="890"/>
                  <a:pt x="35" y="890"/>
                  <a:pt x="35" y="890"/>
                </a:cubicBezTo>
                <a:cubicBezTo>
                  <a:pt x="154" y="887"/>
                  <a:pt x="154" y="887"/>
                  <a:pt x="154" y="887"/>
                </a:cubicBezTo>
                <a:cubicBezTo>
                  <a:pt x="164" y="912"/>
                  <a:pt x="177" y="935"/>
                  <a:pt x="190" y="957"/>
                </a:cubicBezTo>
                <a:cubicBezTo>
                  <a:pt x="120" y="1051"/>
                  <a:pt x="120" y="1051"/>
                  <a:pt x="120" y="1051"/>
                </a:cubicBezTo>
                <a:cubicBezTo>
                  <a:pt x="173" y="1117"/>
                  <a:pt x="173" y="1117"/>
                  <a:pt x="173" y="1117"/>
                </a:cubicBezTo>
                <a:cubicBezTo>
                  <a:pt x="280" y="1070"/>
                  <a:pt x="280" y="1070"/>
                  <a:pt x="280" y="1070"/>
                </a:cubicBezTo>
                <a:cubicBezTo>
                  <a:pt x="297" y="1086"/>
                  <a:pt x="315" y="1102"/>
                  <a:pt x="334" y="1116"/>
                </a:cubicBezTo>
                <a:cubicBezTo>
                  <a:pt x="305" y="1229"/>
                  <a:pt x="305" y="1229"/>
                  <a:pt x="305" y="1229"/>
                </a:cubicBezTo>
                <a:cubicBezTo>
                  <a:pt x="379" y="1270"/>
                  <a:pt x="379" y="1270"/>
                  <a:pt x="379" y="1270"/>
                </a:cubicBezTo>
                <a:cubicBezTo>
                  <a:pt x="460" y="1186"/>
                  <a:pt x="460" y="1186"/>
                  <a:pt x="460" y="1186"/>
                </a:cubicBezTo>
                <a:cubicBezTo>
                  <a:pt x="484" y="1196"/>
                  <a:pt x="509" y="1204"/>
                  <a:pt x="535" y="1210"/>
                </a:cubicBezTo>
                <a:cubicBezTo>
                  <a:pt x="551" y="1326"/>
                  <a:pt x="551" y="1326"/>
                  <a:pt x="551" y="1326"/>
                </a:cubicBezTo>
                <a:cubicBezTo>
                  <a:pt x="636" y="1335"/>
                  <a:pt x="636" y="1335"/>
                  <a:pt x="636" y="1335"/>
                </a:cubicBezTo>
                <a:cubicBezTo>
                  <a:pt x="678" y="1226"/>
                  <a:pt x="678" y="1226"/>
                  <a:pt x="678" y="1226"/>
                </a:cubicBezTo>
                <a:cubicBezTo>
                  <a:pt x="701" y="1226"/>
                  <a:pt x="725" y="1224"/>
                  <a:pt x="749" y="1220"/>
                </a:cubicBezTo>
                <a:cubicBezTo>
                  <a:pt x="808" y="1323"/>
                  <a:pt x="808" y="1323"/>
                  <a:pt x="808" y="1323"/>
                </a:cubicBezTo>
                <a:cubicBezTo>
                  <a:pt x="890" y="1299"/>
                  <a:pt x="890" y="1299"/>
                  <a:pt x="890" y="1299"/>
                </a:cubicBezTo>
                <a:cubicBezTo>
                  <a:pt x="887" y="1181"/>
                  <a:pt x="887" y="1181"/>
                  <a:pt x="887" y="1181"/>
                </a:cubicBezTo>
                <a:cubicBezTo>
                  <a:pt x="912" y="1171"/>
                  <a:pt x="935" y="1159"/>
                  <a:pt x="957" y="1145"/>
                </a:cubicBezTo>
                <a:cubicBezTo>
                  <a:pt x="1051" y="1215"/>
                  <a:pt x="1051" y="1215"/>
                  <a:pt x="1051" y="1215"/>
                </a:cubicBezTo>
                <a:cubicBezTo>
                  <a:pt x="1117" y="1162"/>
                  <a:pt x="1117" y="1162"/>
                  <a:pt x="1117" y="1162"/>
                </a:cubicBezTo>
                <a:cubicBezTo>
                  <a:pt x="1070" y="1055"/>
                  <a:pt x="1070" y="1055"/>
                  <a:pt x="1070" y="1055"/>
                </a:cubicBezTo>
                <a:cubicBezTo>
                  <a:pt x="1086" y="1038"/>
                  <a:pt x="1102" y="1020"/>
                  <a:pt x="1116" y="1001"/>
                </a:cubicBezTo>
                <a:cubicBezTo>
                  <a:pt x="1229" y="1031"/>
                  <a:pt x="1229" y="1031"/>
                  <a:pt x="1229" y="1031"/>
                </a:cubicBezTo>
                <a:cubicBezTo>
                  <a:pt x="1271" y="956"/>
                  <a:pt x="1271" y="956"/>
                  <a:pt x="1271" y="956"/>
                </a:cubicBezTo>
                <a:cubicBezTo>
                  <a:pt x="1186" y="875"/>
                  <a:pt x="1186" y="875"/>
                  <a:pt x="1186" y="875"/>
                </a:cubicBezTo>
                <a:cubicBezTo>
                  <a:pt x="1196" y="851"/>
                  <a:pt x="1204" y="826"/>
                  <a:pt x="1210" y="801"/>
                </a:cubicBezTo>
                <a:lnTo>
                  <a:pt x="1326" y="784"/>
                </a:lnTo>
                <a:close/>
                <a:moveTo>
                  <a:pt x="776" y="1050"/>
                </a:moveTo>
                <a:cubicBezTo>
                  <a:pt x="565" y="1109"/>
                  <a:pt x="345" y="986"/>
                  <a:pt x="286" y="775"/>
                </a:cubicBezTo>
                <a:cubicBezTo>
                  <a:pt x="226" y="564"/>
                  <a:pt x="349" y="345"/>
                  <a:pt x="560" y="286"/>
                </a:cubicBezTo>
                <a:cubicBezTo>
                  <a:pt x="771" y="226"/>
                  <a:pt x="990" y="349"/>
                  <a:pt x="1050" y="560"/>
                </a:cubicBezTo>
                <a:cubicBezTo>
                  <a:pt x="1109" y="771"/>
                  <a:pt x="987" y="990"/>
                  <a:pt x="776" y="1050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91299" tIns="45649" rIns="91299" bIns="45649" numCol="1" anchor="t" anchorCtr="0" compatLnSpc="1">
            <a:prstTxWarp prst="textNoShape">
              <a:avLst/>
            </a:prstTxWarp>
          </a:bodyPr>
          <a:lstStyle/>
          <a:p>
            <a:endParaRPr lang="id-ID" sz="1798" dirty="0"/>
          </a:p>
        </p:txBody>
      </p:sp>
      <p:sp>
        <p:nvSpPr>
          <p:cNvPr id="7" name="Freeform 241">
            <a:extLst>
              <a:ext uri="{FF2B5EF4-FFF2-40B4-BE49-F238E27FC236}">
                <a16:creationId xmlns:a16="http://schemas.microsoft.com/office/drawing/2014/main" id="{7B0E7654-42E6-7D8D-2311-EC99AAFC128F}"/>
              </a:ext>
            </a:extLst>
          </p:cNvPr>
          <p:cNvSpPr>
            <a:spLocks noEditPoints="1"/>
          </p:cNvSpPr>
          <p:nvPr/>
        </p:nvSpPr>
        <p:spPr bwMode="auto">
          <a:xfrm rot="1734430">
            <a:off x="3589444" y="1500930"/>
            <a:ext cx="2514110" cy="2514109"/>
          </a:xfrm>
          <a:custGeom>
            <a:avLst/>
            <a:gdLst>
              <a:gd name="T0" fmla="*/ 1335 w 1335"/>
              <a:gd name="T1" fmla="*/ 699 h 1335"/>
              <a:gd name="T2" fmla="*/ 1220 w 1335"/>
              <a:gd name="T3" fmla="*/ 586 h 1335"/>
              <a:gd name="T4" fmla="*/ 1300 w 1335"/>
              <a:gd name="T5" fmla="*/ 445 h 1335"/>
              <a:gd name="T6" fmla="*/ 1145 w 1335"/>
              <a:gd name="T7" fmla="*/ 378 h 1335"/>
              <a:gd name="T8" fmla="*/ 1162 w 1335"/>
              <a:gd name="T9" fmla="*/ 218 h 1335"/>
              <a:gd name="T10" fmla="*/ 1001 w 1335"/>
              <a:gd name="T11" fmla="*/ 219 h 1335"/>
              <a:gd name="T12" fmla="*/ 956 w 1335"/>
              <a:gd name="T13" fmla="*/ 65 h 1335"/>
              <a:gd name="T14" fmla="*/ 801 w 1335"/>
              <a:gd name="T15" fmla="*/ 125 h 1335"/>
              <a:gd name="T16" fmla="*/ 699 w 1335"/>
              <a:gd name="T17" fmla="*/ 0 h 1335"/>
              <a:gd name="T18" fmla="*/ 586 w 1335"/>
              <a:gd name="T19" fmla="*/ 115 h 1335"/>
              <a:gd name="T20" fmla="*/ 445 w 1335"/>
              <a:gd name="T21" fmla="*/ 35 h 1335"/>
              <a:gd name="T22" fmla="*/ 378 w 1335"/>
              <a:gd name="T23" fmla="*/ 190 h 1335"/>
              <a:gd name="T24" fmla="*/ 218 w 1335"/>
              <a:gd name="T25" fmla="*/ 173 h 1335"/>
              <a:gd name="T26" fmla="*/ 220 w 1335"/>
              <a:gd name="T27" fmla="*/ 334 h 1335"/>
              <a:gd name="T28" fmla="*/ 65 w 1335"/>
              <a:gd name="T29" fmla="*/ 379 h 1335"/>
              <a:gd name="T30" fmla="*/ 125 w 1335"/>
              <a:gd name="T31" fmla="*/ 535 h 1335"/>
              <a:gd name="T32" fmla="*/ 0 w 1335"/>
              <a:gd name="T33" fmla="*/ 636 h 1335"/>
              <a:gd name="T34" fmla="*/ 115 w 1335"/>
              <a:gd name="T35" fmla="*/ 749 h 1335"/>
              <a:gd name="T36" fmla="*/ 35 w 1335"/>
              <a:gd name="T37" fmla="*/ 890 h 1335"/>
              <a:gd name="T38" fmla="*/ 190 w 1335"/>
              <a:gd name="T39" fmla="*/ 957 h 1335"/>
              <a:gd name="T40" fmla="*/ 173 w 1335"/>
              <a:gd name="T41" fmla="*/ 1117 h 1335"/>
              <a:gd name="T42" fmla="*/ 334 w 1335"/>
              <a:gd name="T43" fmla="*/ 1116 h 1335"/>
              <a:gd name="T44" fmla="*/ 379 w 1335"/>
              <a:gd name="T45" fmla="*/ 1270 h 1335"/>
              <a:gd name="T46" fmla="*/ 535 w 1335"/>
              <a:gd name="T47" fmla="*/ 1210 h 1335"/>
              <a:gd name="T48" fmla="*/ 636 w 1335"/>
              <a:gd name="T49" fmla="*/ 1335 h 1335"/>
              <a:gd name="T50" fmla="*/ 749 w 1335"/>
              <a:gd name="T51" fmla="*/ 1220 h 1335"/>
              <a:gd name="T52" fmla="*/ 890 w 1335"/>
              <a:gd name="T53" fmla="*/ 1299 h 1335"/>
              <a:gd name="T54" fmla="*/ 957 w 1335"/>
              <a:gd name="T55" fmla="*/ 1145 h 1335"/>
              <a:gd name="T56" fmla="*/ 1117 w 1335"/>
              <a:gd name="T57" fmla="*/ 1162 h 1335"/>
              <a:gd name="T58" fmla="*/ 1116 w 1335"/>
              <a:gd name="T59" fmla="*/ 1001 h 1335"/>
              <a:gd name="T60" fmla="*/ 1271 w 1335"/>
              <a:gd name="T61" fmla="*/ 956 h 1335"/>
              <a:gd name="T62" fmla="*/ 1210 w 1335"/>
              <a:gd name="T63" fmla="*/ 801 h 1335"/>
              <a:gd name="T64" fmla="*/ 776 w 1335"/>
              <a:gd name="T65" fmla="*/ 1050 h 1335"/>
              <a:gd name="T66" fmla="*/ 560 w 1335"/>
              <a:gd name="T67" fmla="*/ 286 h 1335"/>
              <a:gd name="T68" fmla="*/ 776 w 1335"/>
              <a:gd name="T69" fmla="*/ 1050 h 13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335" h="1335">
                <a:moveTo>
                  <a:pt x="1326" y="784"/>
                </a:moveTo>
                <a:cubicBezTo>
                  <a:pt x="1335" y="699"/>
                  <a:pt x="1335" y="699"/>
                  <a:pt x="1335" y="699"/>
                </a:cubicBezTo>
                <a:cubicBezTo>
                  <a:pt x="1226" y="658"/>
                  <a:pt x="1226" y="658"/>
                  <a:pt x="1226" y="658"/>
                </a:cubicBezTo>
                <a:cubicBezTo>
                  <a:pt x="1226" y="634"/>
                  <a:pt x="1224" y="610"/>
                  <a:pt x="1220" y="586"/>
                </a:cubicBezTo>
                <a:cubicBezTo>
                  <a:pt x="1323" y="527"/>
                  <a:pt x="1323" y="527"/>
                  <a:pt x="1323" y="527"/>
                </a:cubicBezTo>
                <a:cubicBezTo>
                  <a:pt x="1300" y="445"/>
                  <a:pt x="1300" y="445"/>
                  <a:pt x="1300" y="445"/>
                </a:cubicBezTo>
                <a:cubicBezTo>
                  <a:pt x="1181" y="448"/>
                  <a:pt x="1181" y="448"/>
                  <a:pt x="1181" y="448"/>
                </a:cubicBezTo>
                <a:cubicBezTo>
                  <a:pt x="1171" y="424"/>
                  <a:pt x="1159" y="400"/>
                  <a:pt x="1145" y="378"/>
                </a:cubicBezTo>
                <a:cubicBezTo>
                  <a:pt x="1215" y="284"/>
                  <a:pt x="1215" y="284"/>
                  <a:pt x="1215" y="284"/>
                </a:cubicBezTo>
                <a:cubicBezTo>
                  <a:pt x="1162" y="218"/>
                  <a:pt x="1162" y="218"/>
                  <a:pt x="1162" y="218"/>
                </a:cubicBezTo>
                <a:cubicBezTo>
                  <a:pt x="1055" y="266"/>
                  <a:pt x="1055" y="266"/>
                  <a:pt x="1055" y="266"/>
                </a:cubicBezTo>
                <a:cubicBezTo>
                  <a:pt x="1038" y="249"/>
                  <a:pt x="1020" y="234"/>
                  <a:pt x="1001" y="219"/>
                </a:cubicBezTo>
                <a:cubicBezTo>
                  <a:pt x="1031" y="106"/>
                  <a:pt x="1031" y="106"/>
                  <a:pt x="1031" y="106"/>
                </a:cubicBezTo>
                <a:cubicBezTo>
                  <a:pt x="956" y="65"/>
                  <a:pt x="956" y="65"/>
                  <a:pt x="956" y="65"/>
                </a:cubicBezTo>
                <a:cubicBezTo>
                  <a:pt x="875" y="149"/>
                  <a:pt x="875" y="149"/>
                  <a:pt x="875" y="149"/>
                </a:cubicBezTo>
                <a:cubicBezTo>
                  <a:pt x="851" y="139"/>
                  <a:pt x="826" y="131"/>
                  <a:pt x="801" y="125"/>
                </a:cubicBezTo>
                <a:cubicBezTo>
                  <a:pt x="784" y="9"/>
                  <a:pt x="784" y="9"/>
                  <a:pt x="784" y="9"/>
                </a:cubicBezTo>
                <a:cubicBezTo>
                  <a:pt x="699" y="0"/>
                  <a:pt x="699" y="0"/>
                  <a:pt x="699" y="0"/>
                </a:cubicBezTo>
                <a:cubicBezTo>
                  <a:pt x="658" y="109"/>
                  <a:pt x="658" y="109"/>
                  <a:pt x="658" y="109"/>
                </a:cubicBezTo>
                <a:cubicBezTo>
                  <a:pt x="634" y="109"/>
                  <a:pt x="610" y="111"/>
                  <a:pt x="586" y="115"/>
                </a:cubicBezTo>
                <a:cubicBezTo>
                  <a:pt x="527" y="12"/>
                  <a:pt x="527" y="12"/>
                  <a:pt x="527" y="12"/>
                </a:cubicBezTo>
                <a:cubicBezTo>
                  <a:pt x="445" y="35"/>
                  <a:pt x="445" y="35"/>
                  <a:pt x="445" y="35"/>
                </a:cubicBezTo>
                <a:cubicBezTo>
                  <a:pt x="448" y="154"/>
                  <a:pt x="448" y="154"/>
                  <a:pt x="448" y="154"/>
                </a:cubicBezTo>
                <a:cubicBezTo>
                  <a:pt x="424" y="164"/>
                  <a:pt x="400" y="176"/>
                  <a:pt x="378" y="190"/>
                </a:cubicBezTo>
                <a:cubicBezTo>
                  <a:pt x="284" y="120"/>
                  <a:pt x="284" y="120"/>
                  <a:pt x="284" y="120"/>
                </a:cubicBezTo>
                <a:cubicBezTo>
                  <a:pt x="218" y="173"/>
                  <a:pt x="218" y="173"/>
                  <a:pt x="218" y="173"/>
                </a:cubicBezTo>
                <a:cubicBezTo>
                  <a:pt x="266" y="280"/>
                  <a:pt x="266" y="280"/>
                  <a:pt x="266" y="280"/>
                </a:cubicBezTo>
                <a:cubicBezTo>
                  <a:pt x="249" y="297"/>
                  <a:pt x="234" y="315"/>
                  <a:pt x="220" y="334"/>
                </a:cubicBezTo>
                <a:cubicBezTo>
                  <a:pt x="106" y="305"/>
                  <a:pt x="106" y="305"/>
                  <a:pt x="106" y="305"/>
                </a:cubicBezTo>
                <a:cubicBezTo>
                  <a:pt x="65" y="379"/>
                  <a:pt x="65" y="379"/>
                  <a:pt x="65" y="379"/>
                </a:cubicBezTo>
                <a:cubicBezTo>
                  <a:pt x="149" y="460"/>
                  <a:pt x="149" y="460"/>
                  <a:pt x="149" y="460"/>
                </a:cubicBezTo>
                <a:cubicBezTo>
                  <a:pt x="139" y="484"/>
                  <a:pt x="131" y="509"/>
                  <a:pt x="125" y="535"/>
                </a:cubicBezTo>
                <a:cubicBezTo>
                  <a:pt x="9" y="551"/>
                  <a:pt x="9" y="551"/>
                  <a:pt x="9" y="551"/>
                </a:cubicBezTo>
                <a:cubicBezTo>
                  <a:pt x="0" y="636"/>
                  <a:pt x="0" y="636"/>
                  <a:pt x="0" y="636"/>
                </a:cubicBezTo>
                <a:cubicBezTo>
                  <a:pt x="109" y="678"/>
                  <a:pt x="109" y="678"/>
                  <a:pt x="109" y="678"/>
                </a:cubicBezTo>
                <a:cubicBezTo>
                  <a:pt x="110" y="701"/>
                  <a:pt x="111" y="725"/>
                  <a:pt x="115" y="749"/>
                </a:cubicBezTo>
                <a:cubicBezTo>
                  <a:pt x="12" y="809"/>
                  <a:pt x="12" y="809"/>
                  <a:pt x="12" y="809"/>
                </a:cubicBezTo>
                <a:cubicBezTo>
                  <a:pt x="35" y="890"/>
                  <a:pt x="35" y="890"/>
                  <a:pt x="35" y="890"/>
                </a:cubicBezTo>
                <a:cubicBezTo>
                  <a:pt x="154" y="887"/>
                  <a:pt x="154" y="887"/>
                  <a:pt x="154" y="887"/>
                </a:cubicBezTo>
                <a:cubicBezTo>
                  <a:pt x="164" y="912"/>
                  <a:pt x="177" y="935"/>
                  <a:pt x="190" y="957"/>
                </a:cubicBezTo>
                <a:cubicBezTo>
                  <a:pt x="120" y="1051"/>
                  <a:pt x="120" y="1051"/>
                  <a:pt x="120" y="1051"/>
                </a:cubicBezTo>
                <a:cubicBezTo>
                  <a:pt x="173" y="1117"/>
                  <a:pt x="173" y="1117"/>
                  <a:pt x="173" y="1117"/>
                </a:cubicBezTo>
                <a:cubicBezTo>
                  <a:pt x="280" y="1070"/>
                  <a:pt x="280" y="1070"/>
                  <a:pt x="280" y="1070"/>
                </a:cubicBezTo>
                <a:cubicBezTo>
                  <a:pt x="297" y="1086"/>
                  <a:pt x="315" y="1102"/>
                  <a:pt x="334" y="1116"/>
                </a:cubicBezTo>
                <a:cubicBezTo>
                  <a:pt x="305" y="1229"/>
                  <a:pt x="305" y="1229"/>
                  <a:pt x="305" y="1229"/>
                </a:cubicBezTo>
                <a:cubicBezTo>
                  <a:pt x="379" y="1270"/>
                  <a:pt x="379" y="1270"/>
                  <a:pt x="379" y="1270"/>
                </a:cubicBezTo>
                <a:cubicBezTo>
                  <a:pt x="460" y="1186"/>
                  <a:pt x="460" y="1186"/>
                  <a:pt x="460" y="1186"/>
                </a:cubicBezTo>
                <a:cubicBezTo>
                  <a:pt x="484" y="1196"/>
                  <a:pt x="509" y="1204"/>
                  <a:pt x="535" y="1210"/>
                </a:cubicBezTo>
                <a:cubicBezTo>
                  <a:pt x="551" y="1326"/>
                  <a:pt x="551" y="1326"/>
                  <a:pt x="551" y="1326"/>
                </a:cubicBezTo>
                <a:cubicBezTo>
                  <a:pt x="636" y="1335"/>
                  <a:pt x="636" y="1335"/>
                  <a:pt x="636" y="1335"/>
                </a:cubicBezTo>
                <a:cubicBezTo>
                  <a:pt x="678" y="1226"/>
                  <a:pt x="678" y="1226"/>
                  <a:pt x="678" y="1226"/>
                </a:cubicBezTo>
                <a:cubicBezTo>
                  <a:pt x="701" y="1226"/>
                  <a:pt x="725" y="1224"/>
                  <a:pt x="749" y="1220"/>
                </a:cubicBezTo>
                <a:cubicBezTo>
                  <a:pt x="808" y="1323"/>
                  <a:pt x="808" y="1323"/>
                  <a:pt x="808" y="1323"/>
                </a:cubicBezTo>
                <a:cubicBezTo>
                  <a:pt x="890" y="1299"/>
                  <a:pt x="890" y="1299"/>
                  <a:pt x="890" y="1299"/>
                </a:cubicBezTo>
                <a:cubicBezTo>
                  <a:pt x="887" y="1181"/>
                  <a:pt x="887" y="1181"/>
                  <a:pt x="887" y="1181"/>
                </a:cubicBezTo>
                <a:cubicBezTo>
                  <a:pt x="912" y="1171"/>
                  <a:pt x="935" y="1159"/>
                  <a:pt x="957" y="1145"/>
                </a:cubicBezTo>
                <a:cubicBezTo>
                  <a:pt x="1051" y="1215"/>
                  <a:pt x="1051" y="1215"/>
                  <a:pt x="1051" y="1215"/>
                </a:cubicBezTo>
                <a:cubicBezTo>
                  <a:pt x="1117" y="1162"/>
                  <a:pt x="1117" y="1162"/>
                  <a:pt x="1117" y="1162"/>
                </a:cubicBezTo>
                <a:cubicBezTo>
                  <a:pt x="1070" y="1055"/>
                  <a:pt x="1070" y="1055"/>
                  <a:pt x="1070" y="1055"/>
                </a:cubicBezTo>
                <a:cubicBezTo>
                  <a:pt x="1086" y="1038"/>
                  <a:pt x="1102" y="1020"/>
                  <a:pt x="1116" y="1001"/>
                </a:cubicBezTo>
                <a:cubicBezTo>
                  <a:pt x="1229" y="1031"/>
                  <a:pt x="1229" y="1031"/>
                  <a:pt x="1229" y="1031"/>
                </a:cubicBezTo>
                <a:cubicBezTo>
                  <a:pt x="1271" y="956"/>
                  <a:pt x="1271" y="956"/>
                  <a:pt x="1271" y="956"/>
                </a:cubicBezTo>
                <a:cubicBezTo>
                  <a:pt x="1186" y="875"/>
                  <a:pt x="1186" y="875"/>
                  <a:pt x="1186" y="875"/>
                </a:cubicBezTo>
                <a:cubicBezTo>
                  <a:pt x="1196" y="851"/>
                  <a:pt x="1204" y="826"/>
                  <a:pt x="1210" y="801"/>
                </a:cubicBezTo>
                <a:lnTo>
                  <a:pt x="1326" y="784"/>
                </a:lnTo>
                <a:close/>
                <a:moveTo>
                  <a:pt x="776" y="1050"/>
                </a:moveTo>
                <a:cubicBezTo>
                  <a:pt x="565" y="1109"/>
                  <a:pt x="345" y="986"/>
                  <a:pt x="286" y="775"/>
                </a:cubicBezTo>
                <a:cubicBezTo>
                  <a:pt x="226" y="564"/>
                  <a:pt x="349" y="345"/>
                  <a:pt x="560" y="286"/>
                </a:cubicBezTo>
                <a:cubicBezTo>
                  <a:pt x="771" y="226"/>
                  <a:pt x="990" y="349"/>
                  <a:pt x="1050" y="560"/>
                </a:cubicBezTo>
                <a:cubicBezTo>
                  <a:pt x="1109" y="771"/>
                  <a:pt x="987" y="990"/>
                  <a:pt x="776" y="105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299" tIns="45649" rIns="91299" bIns="45649" numCol="1" anchor="t" anchorCtr="0" compatLnSpc="1">
            <a:prstTxWarp prst="textNoShape">
              <a:avLst/>
            </a:prstTxWarp>
          </a:bodyPr>
          <a:lstStyle/>
          <a:p>
            <a:endParaRPr lang="id-ID" sz="1798"/>
          </a:p>
        </p:txBody>
      </p:sp>
      <p:sp>
        <p:nvSpPr>
          <p:cNvPr id="8" name="Freeform 241">
            <a:extLst>
              <a:ext uri="{FF2B5EF4-FFF2-40B4-BE49-F238E27FC236}">
                <a16:creationId xmlns:a16="http://schemas.microsoft.com/office/drawing/2014/main" id="{56FB98AF-1D08-1DC0-3908-D558F1469811}"/>
              </a:ext>
            </a:extLst>
          </p:cNvPr>
          <p:cNvSpPr>
            <a:spLocks noEditPoints="1"/>
          </p:cNvSpPr>
          <p:nvPr/>
        </p:nvSpPr>
        <p:spPr bwMode="auto">
          <a:xfrm rot="779672">
            <a:off x="6078756" y="1500930"/>
            <a:ext cx="2514110" cy="2514109"/>
          </a:xfrm>
          <a:custGeom>
            <a:avLst/>
            <a:gdLst>
              <a:gd name="T0" fmla="*/ 1335 w 1335"/>
              <a:gd name="T1" fmla="*/ 699 h 1335"/>
              <a:gd name="T2" fmla="*/ 1220 w 1335"/>
              <a:gd name="T3" fmla="*/ 586 h 1335"/>
              <a:gd name="T4" fmla="*/ 1300 w 1335"/>
              <a:gd name="T5" fmla="*/ 445 h 1335"/>
              <a:gd name="T6" fmla="*/ 1145 w 1335"/>
              <a:gd name="T7" fmla="*/ 378 h 1335"/>
              <a:gd name="T8" fmla="*/ 1162 w 1335"/>
              <a:gd name="T9" fmla="*/ 218 h 1335"/>
              <a:gd name="T10" fmla="*/ 1001 w 1335"/>
              <a:gd name="T11" fmla="*/ 219 h 1335"/>
              <a:gd name="T12" fmla="*/ 956 w 1335"/>
              <a:gd name="T13" fmla="*/ 65 h 1335"/>
              <a:gd name="T14" fmla="*/ 801 w 1335"/>
              <a:gd name="T15" fmla="*/ 125 h 1335"/>
              <a:gd name="T16" fmla="*/ 699 w 1335"/>
              <a:gd name="T17" fmla="*/ 0 h 1335"/>
              <a:gd name="T18" fmla="*/ 586 w 1335"/>
              <a:gd name="T19" fmla="*/ 115 h 1335"/>
              <a:gd name="T20" fmla="*/ 445 w 1335"/>
              <a:gd name="T21" fmla="*/ 35 h 1335"/>
              <a:gd name="T22" fmla="*/ 378 w 1335"/>
              <a:gd name="T23" fmla="*/ 190 h 1335"/>
              <a:gd name="T24" fmla="*/ 218 w 1335"/>
              <a:gd name="T25" fmla="*/ 173 h 1335"/>
              <a:gd name="T26" fmla="*/ 220 w 1335"/>
              <a:gd name="T27" fmla="*/ 334 h 1335"/>
              <a:gd name="T28" fmla="*/ 65 w 1335"/>
              <a:gd name="T29" fmla="*/ 379 h 1335"/>
              <a:gd name="T30" fmla="*/ 125 w 1335"/>
              <a:gd name="T31" fmla="*/ 535 h 1335"/>
              <a:gd name="T32" fmla="*/ 0 w 1335"/>
              <a:gd name="T33" fmla="*/ 636 h 1335"/>
              <a:gd name="T34" fmla="*/ 115 w 1335"/>
              <a:gd name="T35" fmla="*/ 749 h 1335"/>
              <a:gd name="T36" fmla="*/ 35 w 1335"/>
              <a:gd name="T37" fmla="*/ 890 h 1335"/>
              <a:gd name="T38" fmla="*/ 190 w 1335"/>
              <a:gd name="T39" fmla="*/ 957 h 1335"/>
              <a:gd name="T40" fmla="*/ 173 w 1335"/>
              <a:gd name="T41" fmla="*/ 1117 h 1335"/>
              <a:gd name="T42" fmla="*/ 334 w 1335"/>
              <a:gd name="T43" fmla="*/ 1116 h 1335"/>
              <a:gd name="T44" fmla="*/ 379 w 1335"/>
              <a:gd name="T45" fmla="*/ 1270 h 1335"/>
              <a:gd name="T46" fmla="*/ 535 w 1335"/>
              <a:gd name="T47" fmla="*/ 1210 h 1335"/>
              <a:gd name="T48" fmla="*/ 636 w 1335"/>
              <a:gd name="T49" fmla="*/ 1335 h 1335"/>
              <a:gd name="T50" fmla="*/ 749 w 1335"/>
              <a:gd name="T51" fmla="*/ 1220 h 1335"/>
              <a:gd name="T52" fmla="*/ 890 w 1335"/>
              <a:gd name="T53" fmla="*/ 1299 h 1335"/>
              <a:gd name="T54" fmla="*/ 957 w 1335"/>
              <a:gd name="T55" fmla="*/ 1145 h 1335"/>
              <a:gd name="T56" fmla="*/ 1117 w 1335"/>
              <a:gd name="T57" fmla="*/ 1162 h 1335"/>
              <a:gd name="T58" fmla="*/ 1116 w 1335"/>
              <a:gd name="T59" fmla="*/ 1001 h 1335"/>
              <a:gd name="T60" fmla="*/ 1271 w 1335"/>
              <a:gd name="T61" fmla="*/ 956 h 1335"/>
              <a:gd name="T62" fmla="*/ 1210 w 1335"/>
              <a:gd name="T63" fmla="*/ 801 h 1335"/>
              <a:gd name="T64" fmla="*/ 776 w 1335"/>
              <a:gd name="T65" fmla="*/ 1050 h 1335"/>
              <a:gd name="T66" fmla="*/ 560 w 1335"/>
              <a:gd name="T67" fmla="*/ 286 h 1335"/>
              <a:gd name="T68" fmla="*/ 776 w 1335"/>
              <a:gd name="T69" fmla="*/ 1050 h 13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335" h="1335">
                <a:moveTo>
                  <a:pt x="1326" y="784"/>
                </a:moveTo>
                <a:cubicBezTo>
                  <a:pt x="1335" y="699"/>
                  <a:pt x="1335" y="699"/>
                  <a:pt x="1335" y="699"/>
                </a:cubicBezTo>
                <a:cubicBezTo>
                  <a:pt x="1226" y="658"/>
                  <a:pt x="1226" y="658"/>
                  <a:pt x="1226" y="658"/>
                </a:cubicBezTo>
                <a:cubicBezTo>
                  <a:pt x="1226" y="634"/>
                  <a:pt x="1224" y="610"/>
                  <a:pt x="1220" y="586"/>
                </a:cubicBezTo>
                <a:cubicBezTo>
                  <a:pt x="1323" y="527"/>
                  <a:pt x="1323" y="527"/>
                  <a:pt x="1323" y="527"/>
                </a:cubicBezTo>
                <a:cubicBezTo>
                  <a:pt x="1300" y="445"/>
                  <a:pt x="1300" y="445"/>
                  <a:pt x="1300" y="445"/>
                </a:cubicBezTo>
                <a:cubicBezTo>
                  <a:pt x="1181" y="448"/>
                  <a:pt x="1181" y="448"/>
                  <a:pt x="1181" y="448"/>
                </a:cubicBezTo>
                <a:cubicBezTo>
                  <a:pt x="1171" y="424"/>
                  <a:pt x="1159" y="400"/>
                  <a:pt x="1145" y="378"/>
                </a:cubicBezTo>
                <a:cubicBezTo>
                  <a:pt x="1215" y="284"/>
                  <a:pt x="1215" y="284"/>
                  <a:pt x="1215" y="284"/>
                </a:cubicBezTo>
                <a:cubicBezTo>
                  <a:pt x="1162" y="218"/>
                  <a:pt x="1162" y="218"/>
                  <a:pt x="1162" y="218"/>
                </a:cubicBezTo>
                <a:cubicBezTo>
                  <a:pt x="1055" y="266"/>
                  <a:pt x="1055" y="266"/>
                  <a:pt x="1055" y="266"/>
                </a:cubicBezTo>
                <a:cubicBezTo>
                  <a:pt x="1038" y="249"/>
                  <a:pt x="1020" y="234"/>
                  <a:pt x="1001" y="219"/>
                </a:cubicBezTo>
                <a:cubicBezTo>
                  <a:pt x="1031" y="106"/>
                  <a:pt x="1031" y="106"/>
                  <a:pt x="1031" y="106"/>
                </a:cubicBezTo>
                <a:cubicBezTo>
                  <a:pt x="956" y="65"/>
                  <a:pt x="956" y="65"/>
                  <a:pt x="956" y="65"/>
                </a:cubicBezTo>
                <a:cubicBezTo>
                  <a:pt x="875" y="149"/>
                  <a:pt x="875" y="149"/>
                  <a:pt x="875" y="149"/>
                </a:cubicBezTo>
                <a:cubicBezTo>
                  <a:pt x="851" y="139"/>
                  <a:pt x="826" y="131"/>
                  <a:pt x="801" y="125"/>
                </a:cubicBezTo>
                <a:cubicBezTo>
                  <a:pt x="784" y="9"/>
                  <a:pt x="784" y="9"/>
                  <a:pt x="784" y="9"/>
                </a:cubicBezTo>
                <a:cubicBezTo>
                  <a:pt x="699" y="0"/>
                  <a:pt x="699" y="0"/>
                  <a:pt x="699" y="0"/>
                </a:cubicBezTo>
                <a:cubicBezTo>
                  <a:pt x="658" y="109"/>
                  <a:pt x="658" y="109"/>
                  <a:pt x="658" y="109"/>
                </a:cubicBezTo>
                <a:cubicBezTo>
                  <a:pt x="634" y="109"/>
                  <a:pt x="610" y="111"/>
                  <a:pt x="586" y="115"/>
                </a:cubicBezTo>
                <a:cubicBezTo>
                  <a:pt x="527" y="12"/>
                  <a:pt x="527" y="12"/>
                  <a:pt x="527" y="12"/>
                </a:cubicBezTo>
                <a:cubicBezTo>
                  <a:pt x="445" y="35"/>
                  <a:pt x="445" y="35"/>
                  <a:pt x="445" y="35"/>
                </a:cubicBezTo>
                <a:cubicBezTo>
                  <a:pt x="448" y="154"/>
                  <a:pt x="448" y="154"/>
                  <a:pt x="448" y="154"/>
                </a:cubicBezTo>
                <a:cubicBezTo>
                  <a:pt x="424" y="164"/>
                  <a:pt x="400" y="176"/>
                  <a:pt x="378" y="190"/>
                </a:cubicBezTo>
                <a:cubicBezTo>
                  <a:pt x="284" y="120"/>
                  <a:pt x="284" y="120"/>
                  <a:pt x="284" y="120"/>
                </a:cubicBezTo>
                <a:cubicBezTo>
                  <a:pt x="218" y="173"/>
                  <a:pt x="218" y="173"/>
                  <a:pt x="218" y="173"/>
                </a:cubicBezTo>
                <a:cubicBezTo>
                  <a:pt x="266" y="280"/>
                  <a:pt x="266" y="280"/>
                  <a:pt x="266" y="280"/>
                </a:cubicBezTo>
                <a:cubicBezTo>
                  <a:pt x="249" y="297"/>
                  <a:pt x="234" y="315"/>
                  <a:pt x="220" y="334"/>
                </a:cubicBezTo>
                <a:cubicBezTo>
                  <a:pt x="106" y="305"/>
                  <a:pt x="106" y="305"/>
                  <a:pt x="106" y="305"/>
                </a:cubicBezTo>
                <a:cubicBezTo>
                  <a:pt x="65" y="379"/>
                  <a:pt x="65" y="379"/>
                  <a:pt x="65" y="379"/>
                </a:cubicBezTo>
                <a:cubicBezTo>
                  <a:pt x="149" y="460"/>
                  <a:pt x="149" y="460"/>
                  <a:pt x="149" y="460"/>
                </a:cubicBezTo>
                <a:cubicBezTo>
                  <a:pt x="139" y="484"/>
                  <a:pt x="131" y="509"/>
                  <a:pt x="125" y="535"/>
                </a:cubicBezTo>
                <a:cubicBezTo>
                  <a:pt x="9" y="551"/>
                  <a:pt x="9" y="551"/>
                  <a:pt x="9" y="551"/>
                </a:cubicBezTo>
                <a:cubicBezTo>
                  <a:pt x="0" y="636"/>
                  <a:pt x="0" y="636"/>
                  <a:pt x="0" y="636"/>
                </a:cubicBezTo>
                <a:cubicBezTo>
                  <a:pt x="109" y="678"/>
                  <a:pt x="109" y="678"/>
                  <a:pt x="109" y="678"/>
                </a:cubicBezTo>
                <a:cubicBezTo>
                  <a:pt x="110" y="701"/>
                  <a:pt x="111" y="725"/>
                  <a:pt x="115" y="749"/>
                </a:cubicBezTo>
                <a:cubicBezTo>
                  <a:pt x="12" y="809"/>
                  <a:pt x="12" y="809"/>
                  <a:pt x="12" y="809"/>
                </a:cubicBezTo>
                <a:cubicBezTo>
                  <a:pt x="35" y="890"/>
                  <a:pt x="35" y="890"/>
                  <a:pt x="35" y="890"/>
                </a:cubicBezTo>
                <a:cubicBezTo>
                  <a:pt x="154" y="887"/>
                  <a:pt x="154" y="887"/>
                  <a:pt x="154" y="887"/>
                </a:cubicBezTo>
                <a:cubicBezTo>
                  <a:pt x="164" y="912"/>
                  <a:pt x="177" y="935"/>
                  <a:pt x="190" y="957"/>
                </a:cubicBezTo>
                <a:cubicBezTo>
                  <a:pt x="120" y="1051"/>
                  <a:pt x="120" y="1051"/>
                  <a:pt x="120" y="1051"/>
                </a:cubicBezTo>
                <a:cubicBezTo>
                  <a:pt x="173" y="1117"/>
                  <a:pt x="173" y="1117"/>
                  <a:pt x="173" y="1117"/>
                </a:cubicBezTo>
                <a:cubicBezTo>
                  <a:pt x="280" y="1070"/>
                  <a:pt x="280" y="1070"/>
                  <a:pt x="280" y="1070"/>
                </a:cubicBezTo>
                <a:cubicBezTo>
                  <a:pt x="297" y="1086"/>
                  <a:pt x="315" y="1102"/>
                  <a:pt x="334" y="1116"/>
                </a:cubicBezTo>
                <a:cubicBezTo>
                  <a:pt x="305" y="1229"/>
                  <a:pt x="305" y="1229"/>
                  <a:pt x="305" y="1229"/>
                </a:cubicBezTo>
                <a:cubicBezTo>
                  <a:pt x="379" y="1270"/>
                  <a:pt x="379" y="1270"/>
                  <a:pt x="379" y="1270"/>
                </a:cubicBezTo>
                <a:cubicBezTo>
                  <a:pt x="460" y="1186"/>
                  <a:pt x="460" y="1186"/>
                  <a:pt x="460" y="1186"/>
                </a:cubicBezTo>
                <a:cubicBezTo>
                  <a:pt x="484" y="1196"/>
                  <a:pt x="509" y="1204"/>
                  <a:pt x="535" y="1210"/>
                </a:cubicBezTo>
                <a:cubicBezTo>
                  <a:pt x="551" y="1326"/>
                  <a:pt x="551" y="1326"/>
                  <a:pt x="551" y="1326"/>
                </a:cubicBezTo>
                <a:cubicBezTo>
                  <a:pt x="636" y="1335"/>
                  <a:pt x="636" y="1335"/>
                  <a:pt x="636" y="1335"/>
                </a:cubicBezTo>
                <a:cubicBezTo>
                  <a:pt x="678" y="1226"/>
                  <a:pt x="678" y="1226"/>
                  <a:pt x="678" y="1226"/>
                </a:cubicBezTo>
                <a:cubicBezTo>
                  <a:pt x="701" y="1226"/>
                  <a:pt x="725" y="1224"/>
                  <a:pt x="749" y="1220"/>
                </a:cubicBezTo>
                <a:cubicBezTo>
                  <a:pt x="808" y="1323"/>
                  <a:pt x="808" y="1323"/>
                  <a:pt x="808" y="1323"/>
                </a:cubicBezTo>
                <a:cubicBezTo>
                  <a:pt x="890" y="1299"/>
                  <a:pt x="890" y="1299"/>
                  <a:pt x="890" y="1299"/>
                </a:cubicBezTo>
                <a:cubicBezTo>
                  <a:pt x="887" y="1181"/>
                  <a:pt x="887" y="1181"/>
                  <a:pt x="887" y="1181"/>
                </a:cubicBezTo>
                <a:cubicBezTo>
                  <a:pt x="912" y="1171"/>
                  <a:pt x="935" y="1159"/>
                  <a:pt x="957" y="1145"/>
                </a:cubicBezTo>
                <a:cubicBezTo>
                  <a:pt x="1051" y="1215"/>
                  <a:pt x="1051" y="1215"/>
                  <a:pt x="1051" y="1215"/>
                </a:cubicBezTo>
                <a:cubicBezTo>
                  <a:pt x="1117" y="1162"/>
                  <a:pt x="1117" y="1162"/>
                  <a:pt x="1117" y="1162"/>
                </a:cubicBezTo>
                <a:cubicBezTo>
                  <a:pt x="1070" y="1055"/>
                  <a:pt x="1070" y="1055"/>
                  <a:pt x="1070" y="1055"/>
                </a:cubicBezTo>
                <a:cubicBezTo>
                  <a:pt x="1086" y="1038"/>
                  <a:pt x="1102" y="1020"/>
                  <a:pt x="1116" y="1001"/>
                </a:cubicBezTo>
                <a:cubicBezTo>
                  <a:pt x="1229" y="1031"/>
                  <a:pt x="1229" y="1031"/>
                  <a:pt x="1229" y="1031"/>
                </a:cubicBezTo>
                <a:cubicBezTo>
                  <a:pt x="1271" y="956"/>
                  <a:pt x="1271" y="956"/>
                  <a:pt x="1271" y="956"/>
                </a:cubicBezTo>
                <a:cubicBezTo>
                  <a:pt x="1186" y="875"/>
                  <a:pt x="1186" y="875"/>
                  <a:pt x="1186" y="875"/>
                </a:cubicBezTo>
                <a:cubicBezTo>
                  <a:pt x="1196" y="851"/>
                  <a:pt x="1204" y="826"/>
                  <a:pt x="1210" y="801"/>
                </a:cubicBezTo>
                <a:lnTo>
                  <a:pt x="1326" y="784"/>
                </a:lnTo>
                <a:close/>
                <a:moveTo>
                  <a:pt x="776" y="1050"/>
                </a:moveTo>
                <a:cubicBezTo>
                  <a:pt x="565" y="1109"/>
                  <a:pt x="345" y="986"/>
                  <a:pt x="286" y="775"/>
                </a:cubicBezTo>
                <a:cubicBezTo>
                  <a:pt x="226" y="564"/>
                  <a:pt x="349" y="345"/>
                  <a:pt x="560" y="286"/>
                </a:cubicBezTo>
                <a:cubicBezTo>
                  <a:pt x="771" y="226"/>
                  <a:pt x="990" y="349"/>
                  <a:pt x="1050" y="560"/>
                </a:cubicBezTo>
                <a:cubicBezTo>
                  <a:pt x="1109" y="771"/>
                  <a:pt x="987" y="990"/>
                  <a:pt x="776" y="105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299" tIns="45649" rIns="91299" bIns="45649" numCol="1" anchor="t" anchorCtr="0" compatLnSpc="1">
            <a:prstTxWarp prst="textNoShape">
              <a:avLst/>
            </a:prstTxWarp>
          </a:bodyPr>
          <a:lstStyle/>
          <a:p>
            <a:endParaRPr lang="id-ID" sz="1798"/>
          </a:p>
        </p:txBody>
      </p:sp>
      <p:sp>
        <p:nvSpPr>
          <p:cNvPr id="9" name="Freeform 241">
            <a:extLst>
              <a:ext uri="{FF2B5EF4-FFF2-40B4-BE49-F238E27FC236}">
                <a16:creationId xmlns:a16="http://schemas.microsoft.com/office/drawing/2014/main" id="{8393FDB5-32B3-2A6F-1764-B0F2D0CCE9AE}"/>
              </a:ext>
            </a:extLst>
          </p:cNvPr>
          <p:cNvSpPr>
            <a:spLocks noEditPoints="1"/>
          </p:cNvSpPr>
          <p:nvPr/>
        </p:nvSpPr>
        <p:spPr bwMode="auto">
          <a:xfrm rot="1734430">
            <a:off x="8568068" y="1500930"/>
            <a:ext cx="2514110" cy="2514109"/>
          </a:xfrm>
          <a:custGeom>
            <a:avLst/>
            <a:gdLst>
              <a:gd name="T0" fmla="*/ 1335 w 1335"/>
              <a:gd name="T1" fmla="*/ 699 h 1335"/>
              <a:gd name="T2" fmla="*/ 1220 w 1335"/>
              <a:gd name="T3" fmla="*/ 586 h 1335"/>
              <a:gd name="T4" fmla="*/ 1300 w 1335"/>
              <a:gd name="T5" fmla="*/ 445 h 1335"/>
              <a:gd name="T6" fmla="*/ 1145 w 1335"/>
              <a:gd name="T7" fmla="*/ 378 h 1335"/>
              <a:gd name="T8" fmla="*/ 1162 w 1335"/>
              <a:gd name="T9" fmla="*/ 218 h 1335"/>
              <a:gd name="T10" fmla="*/ 1001 w 1335"/>
              <a:gd name="T11" fmla="*/ 219 h 1335"/>
              <a:gd name="T12" fmla="*/ 956 w 1335"/>
              <a:gd name="T13" fmla="*/ 65 h 1335"/>
              <a:gd name="T14" fmla="*/ 801 w 1335"/>
              <a:gd name="T15" fmla="*/ 125 h 1335"/>
              <a:gd name="T16" fmla="*/ 699 w 1335"/>
              <a:gd name="T17" fmla="*/ 0 h 1335"/>
              <a:gd name="T18" fmla="*/ 586 w 1335"/>
              <a:gd name="T19" fmla="*/ 115 h 1335"/>
              <a:gd name="T20" fmla="*/ 445 w 1335"/>
              <a:gd name="T21" fmla="*/ 35 h 1335"/>
              <a:gd name="T22" fmla="*/ 378 w 1335"/>
              <a:gd name="T23" fmla="*/ 190 h 1335"/>
              <a:gd name="T24" fmla="*/ 218 w 1335"/>
              <a:gd name="T25" fmla="*/ 173 h 1335"/>
              <a:gd name="T26" fmla="*/ 220 w 1335"/>
              <a:gd name="T27" fmla="*/ 334 h 1335"/>
              <a:gd name="T28" fmla="*/ 65 w 1335"/>
              <a:gd name="T29" fmla="*/ 379 h 1335"/>
              <a:gd name="T30" fmla="*/ 125 w 1335"/>
              <a:gd name="T31" fmla="*/ 535 h 1335"/>
              <a:gd name="T32" fmla="*/ 0 w 1335"/>
              <a:gd name="T33" fmla="*/ 636 h 1335"/>
              <a:gd name="T34" fmla="*/ 115 w 1335"/>
              <a:gd name="T35" fmla="*/ 749 h 1335"/>
              <a:gd name="T36" fmla="*/ 35 w 1335"/>
              <a:gd name="T37" fmla="*/ 890 h 1335"/>
              <a:gd name="T38" fmla="*/ 190 w 1335"/>
              <a:gd name="T39" fmla="*/ 957 h 1335"/>
              <a:gd name="T40" fmla="*/ 173 w 1335"/>
              <a:gd name="T41" fmla="*/ 1117 h 1335"/>
              <a:gd name="T42" fmla="*/ 334 w 1335"/>
              <a:gd name="T43" fmla="*/ 1116 h 1335"/>
              <a:gd name="T44" fmla="*/ 379 w 1335"/>
              <a:gd name="T45" fmla="*/ 1270 h 1335"/>
              <a:gd name="T46" fmla="*/ 535 w 1335"/>
              <a:gd name="T47" fmla="*/ 1210 h 1335"/>
              <a:gd name="T48" fmla="*/ 636 w 1335"/>
              <a:gd name="T49" fmla="*/ 1335 h 1335"/>
              <a:gd name="T50" fmla="*/ 749 w 1335"/>
              <a:gd name="T51" fmla="*/ 1220 h 1335"/>
              <a:gd name="T52" fmla="*/ 890 w 1335"/>
              <a:gd name="T53" fmla="*/ 1299 h 1335"/>
              <a:gd name="T54" fmla="*/ 957 w 1335"/>
              <a:gd name="T55" fmla="*/ 1145 h 1335"/>
              <a:gd name="T56" fmla="*/ 1117 w 1335"/>
              <a:gd name="T57" fmla="*/ 1162 h 1335"/>
              <a:gd name="T58" fmla="*/ 1116 w 1335"/>
              <a:gd name="T59" fmla="*/ 1001 h 1335"/>
              <a:gd name="T60" fmla="*/ 1271 w 1335"/>
              <a:gd name="T61" fmla="*/ 956 h 1335"/>
              <a:gd name="T62" fmla="*/ 1210 w 1335"/>
              <a:gd name="T63" fmla="*/ 801 h 1335"/>
              <a:gd name="T64" fmla="*/ 776 w 1335"/>
              <a:gd name="T65" fmla="*/ 1050 h 1335"/>
              <a:gd name="T66" fmla="*/ 560 w 1335"/>
              <a:gd name="T67" fmla="*/ 286 h 1335"/>
              <a:gd name="T68" fmla="*/ 776 w 1335"/>
              <a:gd name="T69" fmla="*/ 1050 h 13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335" h="1335">
                <a:moveTo>
                  <a:pt x="1326" y="784"/>
                </a:moveTo>
                <a:cubicBezTo>
                  <a:pt x="1335" y="699"/>
                  <a:pt x="1335" y="699"/>
                  <a:pt x="1335" y="699"/>
                </a:cubicBezTo>
                <a:cubicBezTo>
                  <a:pt x="1226" y="658"/>
                  <a:pt x="1226" y="658"/>
                  <a:pt x="1226" y="658"/>
                </a:cubicBezTo>
                <a:cubicBezTo>
                  <a:pt x="1226" y="634"/>
                  <a:pt x="1224" y="610"/>
                  <a:pt x="1220" y="586"/>
                </a:cubicBezTo>
                <a:cubicBezTo>
                  <a:pt x="1323" y="527"/>
                  <a:pt x="1323" y="527"/>
                  <a:pt x="1323" y="527"/>
                </a:cubicBezTo>
                <a:cubicBezTo>
                  <a:pt x="1300" y="445"/>
                  <a:pt x="1300" y="445"/>
                  <a:pt x="1300" y="445"/>
                </a:cubicBezTo>
                <a:cubicBezTo>
                  <a:pt x="1181" y="448"/>
                  <a:pt x="1181" y="448"/>
                  <a:pt x="1181" y="448"/>
                </a:cubicBezTo>
                <a:cubicBezTo>
                  <a:pt x="1171" y="424"/>
                  <a:pt x="1159" y="400"/>
                  <a:pt x="1145" y="378"/>
                </a:cubicBezTo>
                <a:cubicBezTo>
                  <a:pt x="1215" y="284"/>
                  <a:pt x="1215" y="284"/>
                  <a:pt x="1215" y="284"/>
                </a:cubicBezTo>
                <a:cubicBezTo>
                  <a:pt x="1162" y="218"/>
                  <a:pt x="1162" y="218"/>
                  <a:pt x="1162" y="218"/>
                </a:cubicBezTo>
                <a:cubicBezTo>
                  <a:pt x="1055" y="266"/>
                  <a:pt x="1055" y="266"/>
                  <a:pt x="1055" y="266"/>
                </a:cubicBezTo>
                <a:cubicBezTo>
                  <a:pt x="1038" y="249"/>
                  <a:pt x="1020" y="234"/>
                  <a:pt x="1001" y="219"/>
                </a:cubicBezTo>
                <a:cubicBezTo>
                  <a:pt x="1031" y="106"/>
                  <a:pt x="1031" y="106"/>
                  <a:pt x="1031" y="106"/>
                </a:cubicBezTo>
                <a:cubicBezTo>
                  <a:pt x="956" y="65"/>
                  <a:pt x="956" y="65"/>
                  <a:pt x="956" y="65"/>
                </a:cubicBezTo>
                <a:cubicBezTo>
                  <a:pt x="875" y="149"/>
                  <a:pt x="875" y="149"/>
                  <a:pt x="875" y="149"/>
                </a:cubicBezTo>
                <a:cubicBezTo>
                  <a:pt x="851" y="139"/>
                  <a:pt x="826" y="131"/>
                  <a:pt x="801" y="125"/>
                </a:cubicBezTo>
                <a:cubicBezTo>
                  <a:pt x="784" y="9"/>
                  <a:pt x="784" y="9"/>
                  <a:pt x="784" y="9"/>
                </a:cubicBezTo>
                <a:cubicBezTo>
                  <a:pt x="699" y="0"/>
                  <a:pt x="699" y="0"/>
                  <a:pt x="699" y="0"/>
                </a:cubicBezTo>
                <a:cubicBezTo>
                  <a:pt x="658" y="109"/>
                  <a:pt x="658" y="109"/>
                  <a:pt x="658" y="109"/>
                </a:cubicBezTo>
                <a:cubicBezTo>
                  <a:pt x="634" y="109"/>
                  <a:pt x="610" y="111"/>
                  <a:pt x="586" y="115"/>
                </a:cubicBezTo>
                <a:cubicBezTo>
                  <a:pt x="527" y="12"/>
                  <a:pt x="527" y="12"/>
                  <a:pt x="527" y="12"/>
                </a:cubicBezTo>
                <a:cubicBezTo>
                  <a:pt x="445" y="35"/>
                  <a:pt x="445" y="35"/>
                  <a:pt x="445" y="35"/>
                </a:cubicBezTo>
                <a:cubicBezTo>
                  <a:pt x="448" y="154"/>
                  <a:pt x="448" y="154"/>
                  <a:pt x="448" y="154"/>
                </a:cubicBezTo>
                <a:cubicBezTo>
                  <a:pt x="424" y="164"/>
                  <a:pt x="400" y="176"/>
                  <a:pt x="378" y="190"/>
                </a:cubicBezTo>
                <a:cubicBezTo>
                  <a:pt x="284" y="120"/>
                  <a:pt x="284" y="120"/>
                  <a:pt x="284" y="120"/>
                </a:cubicBezTo>
                <a:cubicBezTo>
                  <a:pt x="218" y="173"/>
                  <a:pt x="218" y="173"/>
                  <a:pt x="218" y="173"/>
                </a:cubicBezTo>
                <a:cubicBezTo>
                  <a:pt x="266" y="280"/>
                  <a:pt x="266" y="280"/>
                  <a:pt x="266" y="280"/>
                </a:cubicBezTo>
                <a:cubicBezTo>
                  <a:pt x="249" y="297"/>
                  <a:pt x="234" y="315"/>
                  <a:pt x="220" y="334"/>
                </a:cubicBezTo>
                <a:cubicBezTo>
                  <a:pt x="106" y="305"/>
                  <a:pt x="106" y="305"/>
                  <a:pt x="106" y="305"/>
                </a:cubicBezTo>
                <a:cubicBezTo>
                  <a:pt x="65" y="379"/>
                  <a:pt x="65" y="379"/>
                  <a:pt x="65" y="379"/>
                </a:cubicBezTo>
                <a:cubicBezTo>
                  <a:pt x="149" y="460"/>
                  <a:pt x="149" y="460"/>
                  <a:pt x="149" y="460"/>
                </a:cubicBezTo>
                <a:cubicBezTo>
                  <a:pt x="139" y="484"/>
                  <a:pt x="131" y="509"/>
                  <a:pt x="125" y="535"/>
                </a:cubicBezTo>
                <a:cubicBezTo>
                  <a:pt x="9" y="551"/>
                  <a:pt x="9" y="551"/>
                  <a:pt x="9" y="551"/>
                </a:cubicBezTo>
                <a:cubicBezTo>
                  <a:pt x="0" y="636"/>
                  <a:pt x="0" y="636"/>
                  <a:pt x="0" y="636"/>
                </a:cubicBezTo>
                <a:cubicBezTo>
                  <a:pt x="109" y="678"/>
                  <a:pt x="109" y="678"/>
                  <a:pt x="109" y="678"/>
                </a:cubicBezTo>
                <a:cubicBezTo>
                  <a:pt x="110" y="701"/>
                  <a:pt x="111" y="725"/>
                  <a:pt x="115" y="749"/>
                </a:cubicBezTo>
                <a:cubicBezTo>
                  <a:pt x="12" y="809"/>
                  <a:pt x="12" y="809"/>
                  <a:pt x="12" y="809"/>
                </a:cubicBezTo>
                <a:cubicBezTo>
                  <a:pt x="35" y="890"/>
                  <a:pt x="35" y="890"/>
                  <a:pt x="35" y="890"/>
                </a:cubicBezTo>
                <a:cubicBezTo>
                  <a:pt x="154" y="887"/>
                  <a:pt x="154" y="887"/>
                  <a:pt x="154" y="887"/>
                </a:cubicBezTo>
                <a:cubicBezTo>
                  <a:pt x="164" y="912"/>
                  <a:pt x="177" y="935"/>
                  <a:pt x="190" y="957"/>
                </a:cubicBezTo>
                <a:cubicBezTo>
                  <a:pt x="120" y="1051"/>
                  <a:pt x="120" y="1051"/>
                  <a:pt x="120" y="1051"/>
                </a:cubicBezTo>
                <a:cubicBezTo>
                  <a:pt x="173" y="1117"/>
                  <a:pt x="173" y="1117"/>
                  <a:pt x="173" y="1117"/>
                </a:cubicBezTo>
                <a:cubicBezTo>
                  <a:pt x="280" y="1070"/>
                  <a:pt x="280" y="1070"/>
                  <a:pt x="280" y="1070"/>
                </a:cubicBezTo>
                <a:cubicBezTo>
                  <a:pt x="297" y="1086"/>
                  <a:pt x="315" y="1102"/>
                  <a:pt x="334" y="1116"/>
                </a:cubicBezTo>
                <a:cubicBezTo>
                  <a:pt x="305" y="1229"/>
                  <a:pt x="305" y="1229"/>
                  <a:pt x="305" y="1229"/>
                </a:cubicBezTo>
                <a:cubicBezTo>
                  <a:pt x="379" y="1270"/>
                  <a:pt x="379" y="1270"/>
                  <a:pt x="379" y="1270"/>
                </a:cubicBezTo>
                <a:cubicBezTo>
                  <a:pt x="460" y="1186"/>
                  <a:pt x="460" y="1186"/>
                  <a:pt x="460" y="1186"/>
                </a:cubicBezTo>
                <a:cubicBezTo>
                  <a:pt x="484" y="1196"/>
                  <a:pt x="509" y="1204"/>
                  <a:pt x="535" y="1210"/>
                </a:cubicBezTo>
                <a:cubicBezTo>
                  <a:pt x="551" y="1326"/>
                  <a:pt x="551" y="1326"/>
                  <a:pt x="551" y="1326"/>
                </a:cubicBezTo>
                <a:cubicBezTo>
                  <a:pt x="636" y="1335"/>
                  <a:pt x="636" y="1335"/>
                  <a:pt x="636" y="1335"/>
                </a:cubicBezTo>
                <a:cubicBezTo>
                  <a:pt x="678" y="1226"/>
                  <a:pt x="678" y="1226"/>
                  <a:pt x="678" y="1226"/>
                </a:cubicBezTo>
                <a:cubicBezTo>
                  <a:pt x="701" y="1226"/>
                  <a:pt x="725" y="1224"/>
                  <a:pt x="749" y="1220"/>
                </a:cubicBezTo>
                <a:cubicBezTo>
                  <a:pt x="808" y="1323"/>
                  <a:pt x="808" y="1323"/>
                  <a:pt x="808" y="1323"/>
                </a:cubicBezTo>
                <a:cubicBezTo>
                  <a:pt x="890" y="1299"/>
                  <a:pt x="890" y="1299"/>
                  <a:pt x="890" y="1299"/>
                </a:cubicBezTo>
                <a:cubicBezTo>
                  <a:pt x="887" y="1181"/>
                  <a:pt x="887" y="1181"/>
                  <a:pt x="887" y="1181"/>
                </a:cubicBezTo>
                <a:cubicBezTo>
                  <a:pt x="912" y="1171"/>
                  <a:pt x="935" y="1159"/>
                  <a:pt x="957" y="1145"/>
                </a:cubicBezTo>
                <a:cubicBezTo>
                  <a:pt x="1051" y="1215"/>
                  <a:pt x="1051" y="1215"/>
                  <a:pt x="1051" y="1215"/>
                </a:cubicBezTo>
                <a:cubicBezTo>
                  <a:pt x="1117" y="1162"/>
                  <a:pt x="1117" y="1162"/>
                  <a:pt x="1117" y="1162"/>
                </a:cubicBezTo>
                <a:cubicBezTo>
                  <a:pt x="1070" y="1055"/>
                  <a:pt x="1070" y="1055"/>
                  <a:pt x="1070" y="1055"/>
                </a:cubicBezTo>
                <a:cubicBezTo>
                  <a:pt x="1086" y="1038"/>
                  <a:pt x="1102" y="1020"/>
                  <a:pt x="1116" y="1001"/>
                </a:cubicBezTo>
                <a:cubicBezTo>
                  <a:pt x="1229" y="1031"/>
                  <a:pt x="1229" y="1031"/>
                  <a:pt x="1229" y="1031"/>
                </a:cubicBezTo>
                <a:cubicBezTo>
                  <a:pt x="1271" y="956"/>
                  <a:pt x="1271" y="956"/>
                  <a:pt x="1271" y="956"/>
                </a:cubicBezTo>
                <a:cubicBezTo>
                  <a:pt x="1186" y="875"/>
                  <a:pt x="1186" y="875"/>
                  <a:pt x="1186" y="875"/>
                </a:cubicBezTo>
                <a:cubicBezTo>
                  <a:pt x="1196" y="851"/>
                  <a:pt x="1204" y="826"/>
                  <a:pt x="1210" y="801"/>
                </a:cubicBezTo>
                <a:lnTo>
                  <a:pt x="1326" y="784"/>
                </a:lnTo>
                <a:close/>
                <a:moveTo>
                  <a:pt x="776" y="1050"/>
                </a:moveTo>
                <a:cubicBezTo>
                  <a:pt x="565" y="1109"/>
                  <a:pt x="345" y="986"/>
                  <a:pt x="286" y="775"/>
                </a:cubicBezTo>
                <a:cubicBezTo>
                  <a:pt x="226" y="564"/>
                  <a:pt x="349" y="345"/>
                  <a:pt x="560" y="286"/>
                </a:cubicBezTo>
                <a:cubicBezTo>
                  <a:pt x="771" y="226"/>
                  <a:pt x="990" y="349"/>
                  <a:pt x="1050" y="560"/>
                </a:cubicBezTo>
                <a:cubicBezTo>
                  <a:pt x="1109" y="771"/>
                  <a:pt x="987" y="990"/>
                  <a:pt x="776" y="105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299" tIns="45649" rIns="91299" bIns="45649" numCol="1" anchor="t" anchorCtr="0" compatLnSpc="1">
            <a:prstTxWarp prst="textNoShape">
              <a:avLst/>
            </a:prstTxWarp>
          </a:bodyPr>
          <a:lstStyle/>
          <a:p>
            <a:endParaRPr lang="id-ID" sz="1798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021A203-1270-BC46-5D7B-CD7AA2C3D145}"/>
              </a:ext>
            </a:extLst>
          </p:cNvPr>
          <p:cNvSpPr/>
          <p:nvPr/>
        </p:nvSpPr>
        <p:spPr>
          <a:xfrm>
            <a:off x="1732500" y="2598460"/>
            <a:ext cx="1249375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/>
            <a:r>
              <a:rPr lang="en-US" sz="1600" b="1" dirty="0">
                <a:ea typeface="Open Sans" panose="020B0606030504020204" pitchFamily="34" charset="0"/>
                <a:cs typeface="Open Sans" panose="020B0606030504020204" pitchFamily="34" charset="0"/>
              </a:rPr>
              <a:t>Header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8222AF8-3CD5-AE18-C9E3-E12F2CCD8E82}"/>
              </a:ext>
            </a:extLst>
          </p:cNvPr>
          <p:cNvSpPr/>
          <p:nvPr/>
        </p:nvSpPr>
        <p:spPr>
          <a:xfrm>
            <a:off x="3767038" y="2598460"/>
            <a:ext cx="2166062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/>
            <a:r>
              <a:rPr lang="en-US" sz="1600" b="1" dirty="0">
                <a:ea typeface="Open Sans" panose="020B0606030504020204" pitchFamily="34" charset="0"/>
                <a:cs typeface="Open Sans" panose="020B0606030504020204" pitchFamily="34" charset="0"/>
              </a:rPr>
              <a:t>Header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A761D4E4-0061-4B8B-A62C-DB8529488376}"/>
              </a:ext>
            </a:extLst>
          </p:cNvPr>
          <p:cNvSpPr/>
          <p:nvPr/>
        </p:nvSpPr>
        <p:spPr>
          <a:xfrm>
            <a:off x="6629323" y="2598460"/>
            <a:ext cx="1444998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/>
            <a:r>
              <a:rPr lang="en-US" sz="1600" b="1" dirty="0">
                <a:ea typeface="Open Sans" panose="020B0606030504020204" pitchFamily="34" charset="0"/>
                <a:cs typeface="Open Sans" panose="020B0606030504020204" pitchFamily="34" charset="0"/>
              </a:rPr>
              <a:t>Header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5BFD0F5D-2B2D-9B9D-E322-3D7576316D4E}"/>
              </a:ext>
            </a:extLst>
          </p:cNvPr>
          <p:cNvSpPr/>
          <p:nvPr/>
        </p:nvSpPr>
        <p:spPr>
          <a:xfrm>
            <a:off x="9102624" y="2598460"/>
            <a:ext cx="1444998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/>
            <a:r>
              <a:rPr lang="en-US" sz="1600" b="1" dirty="0">
                <a:ea typeface="Open Sans" panose="020B0606030504020204" pitchFamily="34" charset="0"/>
                <a:cs typeface="Open Sans" panose="020B0606030504020204" pitchFamily="34" charset="0"/>
              </a:rPr>
              <a:t>Header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C67FF6FA-72EE-6AFD-FCED-06DCA05E6B9E}"/>
              </a:ext>
            </a:extLst>
          </p:cNvPr>
          <p:cNvSpPr/>
          <p:nvPr/>
        </p:nvSpPr>
        <p:spPr>
          <a:xfrm>
            <a:off x="1289949" y="4329163"/>
            <a:ext cx="1992670" cy="107721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/>
            <a:r>
              <a:rPr lang="en-US" sz="1400" dirty="0">
                <a:ea typeface="Open Sans" panose="020B0606030504020204" pitchFamily="34" charset="0"/>
                <a:cs typeface="Open Sans" panose="020B0606030504020204" pitchFamily="34" charset="0"/>
              </a:rPr>
              <a:t>Text </a:t>
            </a:r>
            <a:r>
              <a:rPr lang="en-US" sz="14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4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4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4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4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4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4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4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4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4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4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4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4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br>
              <a:rPr lang="en-US" sz="1400" dirty="0">
                <a:ea typeface="Open Sans" panose="020B0606030504020204" pitchFamily="34" charset="0"/>
                <a:cs typeface="Open Sans" panose="020B0606030504020204" pitchFamily="34" charset="0"/>
              </a:rPr>
            </a:br>
            <a:r>
              <a:rPr lang="en-US" sz="14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4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4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4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4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4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4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4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4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4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4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4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4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4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4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endParaRPr lang="en-US" sz="1400" dirty="0"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algn="ctr"/>
            <a:endParaRPr lang="en-US" sz="1400" dirty="0"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6C283DF1-0736-5A81-6FB7-251428547040}"/>
              </a:ext>
            </a:extLst>
          </p:cNvPr>
          <p:cNvSpPr/>
          <p:nvPr/>
        </p:nvSpPr>
        <p:spPr>
          <a:xfrm>
            <a:off x="3980039" y="4329163"/>
            <a:ext cx="1788267" cy="107721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/>
            <a:r>
              <a:rPr lang="en-US" sz="1400" dirty="0">
                <a:ea typeface="Open Sans" panose="020B0606030504020204" pitchFamily="34" charset="0"/>
                <a:cs typeface="Open Sans" panose="020B0606030504020204" pitchFamily="34" charset="0"/>
              </a:rPr>
              <a:t>Text </a:t>
            </a:r>
            <a:r>
              <a:rPr lang="en-US" sz="14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4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4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4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4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4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4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4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4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4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4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4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4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br>
              <a:rPr lang="en-US" sz="1400" dirty="0">
                <a:ea typeface="Open Sans" panose="020B0606030504020204" pitchFamily="34" charset="0"/>
                <a:cs typeface="Open Sans" panose="020B0606030504020204" pitchFamily="34" charset="0"/>
              </a:rPr>
            </a:br>
            <a:r>
              <a:rPr lang="en-US" sz="14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4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4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4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4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4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4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4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4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4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4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4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4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4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4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endParaRPr lang="en-US" sz="1400" dirty="0"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algn="ctr"/>
            <a:endParaRPr lang="en-US" sz="1400" dirty="0"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6A757D65-EA44-1654-ACDC-0AC46A6ECA43}"/>
              </a:ext>
            </a:extLst>
          </p:cNvPr>
          <p:cNvSpPr/>
          <p:nvPr/>
        </p:nvSpPr>
        <p:spPr>
          <a:xfrm>
            <a:off x="6174897" y="4329163"/>
            <a:ext cx="2353850" cy="64633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/>
            <a:r>
              <a:rPr lang="en-US" sz="1400" dirty="0">
                <a:ea typeface="Open Sans" panose="020B0606030504020204" pitchFamily="34" charset="0"/>
                <a:cs typeface="Open Sans" panose="020B0606030504020204" pitchFamily="34" charset="0"/>
              </a:rPr>
              <a:t>Text </a:t>
            </a:r>
            <a:r>
              <a:rPr lang="en-US" sz="14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4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4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4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4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4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4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4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4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4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4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4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4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br>
              <a:rPr lang="en-US" sz="1400" dirty="0">
                <a:ea typeface="Open Sans" panose="020B0606030504020204" pitchFamily="34" charset="0"/>
                <a:cs typeface="Open Sans" panose="020B0606030504020204" pitchFamily="34" charset="0"/>
              </a:rPr>
            </a:br>
            <a:r>
              <a:rPr lang="en-US" sz="14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4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4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4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4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4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4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4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4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4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4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4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4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4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4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endParaRPr lang="en-US" sz="1400" dirty="0"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algn="ctr"/>
            <a:endParaRPr lang="en-US" sz="1400" dirty="0"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8AEC3F81-B698-AC9F-7754-FFCC9C866E12}"/>
              </a:ext>
            </a:extLst>
          </p:cNvPr>
          <p:cNvSpPr/>
          <p:nvPr/>
        </p:nvSpPr>
        <p:spPr>
          <a:xfrm>
            <a:off x="8806714" y="4329163"/>
            <a:ext cx="2091990" cy="107721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/>
            <a:r>
              <a:rPr lang="en-US" sz="1400" dirty="0">
                <a:ea typeface="Open Sans" panose="020B0606030504020204" pitchFamily="34" charset="0"/>
                <a:cs typeface="Open Sans" panose="020B0606030504020204" pitchFamily="34" charset="0"/>
              </a:rPr>
              <a:t>Text </a:t>
            </a:r>
            <a:r>
              <a:rPr lang="en-US" sz="14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4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4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4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4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4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4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4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4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4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4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4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4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br>
              <a:rPr lang="en-US" sz="1400" dirty="0">
                <a:ea typeface="Open Sans" panose="020B0606030504020204" pitchFamily="34" charset="0"/>
                <a:cs typeface="Open Sans" panose="020B0606030504020204" pitchFamily="34" charset="0"/>
              </a:rPr>
            </a:br>
            <a:r>
              <a:rPr lang="en-US" sz="14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4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4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4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4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4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4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4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4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4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4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4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4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4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4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endParaRPr lang="en-US" sz="1400" dirty="0"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algn="ctr"/>
            <a:endParaRPr lang="en-US" sz="1400" dirty="0"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7466671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8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06352"/>
      </a:accent1>
      <a:accent2>
        <a:srgbClr val="97D0B1"/>
      </a:accent2>
      <a:accent3>
        <a:srgbClr val="C8C2E0"/>
      </a:accent3>
      <a:accent4>
        <a:srgbClr val="F05C4F"/>
      </a:accent4>
      <a:accent5>
        <a:srgbClr val="292866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6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974</TotalTime>
  <Words>74</Words>
  <Application>Microsoft Office PowerPoint</Application>
  <PresentationFormat>Widescreen</PresentationFormat>
  <Paragraphs>10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0" baseType="lpstr">
      <vt:lpstr>Arial</vt:lpstr>
      <vt:lpstr>Calibri</vt:lpstr>
      <vt:lpstr>Courier New</vt:lpstr>
      <vt:lpstr>Crimson Pro</vt:lpstr>
      <vt:lpstr>Open Sans</vt:lpstr>
      <vt:lpstr>Roboto</vt:lpstr>
      <vt:lpstr>Wingdings</vt:lpstr>
      <vt:lpstr>Office Theme</vt:lpstr>
      <vt:lpstr>think-cell Slide</vt:lpstr>
      <vt:lpstr>Circle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raining Template</dc:title>
  <dc:subject/>
  <dc:creator>Analyst Academy LLC</dc:creator>
  <cp:keywords/>
  <dc:description/>
  <cp:lastModifiedBy>Diam Cabatay</cp:lastModifiedBy>
  <cp:revision>655</cp:revision>
  <dcterms:created xsi:type="dcterms:W3CDTF">2021-03-31T02:49:57Z</dcterms:created>
  <dcterms:modified xsi:type="dcterms:W3CDTF">2025-10-16T11:39:43Z</dcterms:modified>
  <cp:category/>
</cp:coreProperties>
</file>